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9" r:id="rId2"/>
  </p:sldMasterIdLst>
  <p:notesMasterIdLst>
    <p:notesMasterId r:id="rId4"/>
  </p:notesMasterIdLst>
  <p:sldIdLst>
    <p:sldId id="465" r:id="rId3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261694F-DA4E-41E8-A31E-2FE91A9CBBEC}" v="87" dt="2021-03-24T10:28:28.99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1242" autoAdjust="0"/>
  </p:normalViewPr>
  <p:slideViewPr>
    <p:cSldViewPr snapToGrid="0">
      <p:cViewPr varScale="1">
        <p:scale>
          <a:sx n="58" d="100"/>
          <a:sy n="58" d="100"/>
        </p:scale>
        <p:origin x="1218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Relationship Id="rId9" Type="http://schemas.microsoft.com/office/2015/10/relationships/revisionInfo" Target="revisionInfo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8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800" b="1" dirty="0"/>
              <a:t>Indicator 4 :  The number of people of the under-represented sex in the 10 highest salaries.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Indicateur 4 Nombre de personnes du sexe sous représenté dans les 10 plus hautes rémunération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E77-429E-92EE-58DABD7CDEA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E77-429E-92EE-58DABD7CDEA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E77-429E-92EE-58DABD7CDEAF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E77-429E-92EE-58DABD7CDEAF}"/>
              </c:ext>
            </c:extLst>
          </c:dPt>
          <c:cat>
            <c:numRef>
              <c:f>Feuil1!$A$2:$A$5</c:f>
              <c:numCache>
                <c:formatCode>General</c:formatCode>
                <c:ptCount val="4"/>
              </c:numCache>
            </c:numRef>
          </c:cat>
          <c:val>
            <c:numRef>
              <c:f>Feuil1!$B$2:$B$5</c:f>
              <c:numCache>
                <c:formatCode>General</c:formatCode>
                <c:ptCount val="4"/>
                <c:pt idx="0">
                  <c:v>50</c:v>
                </c:pt>
                <c:pt idx="1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E77-429E-92EE-58DABD7CDE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b="1" dirty="0"/>
              <a:t>Indicator 1 : Gender pay gap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Indicateur 1 : écart des rémunérations hommes/femm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AE3-42FE-A432-F57354A4DB2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AE3-42FE-A432-F57354A4DB29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AE3-42FE-A432-F57354A4DB29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DAE3-42FE-A432-F57354A4DB29}"/>
              </c:ext>
            </c:extLst>
          </c:dPt>
          <c:cat>
            <c:numRef>
              <c:f>Feuil1!$A$2:$A$5</c:f>
              <c:numCache>
                <c:formatCode>General</c:formatCode>
                <c:ptCount val="4"/>
              </c:numCache>
            </c:numRef>
          </c:cat>
          <c:val>
            <c:numRef>
              <c:f>Feuil1!$B$2:$B$5</c:f>
              <c:numCache>
                <c:formatCode>General</c:formatCode>
                <c:ptCount val="4"/>
                <c:pt idx="0">
                  <c:v>21</c:v>
                </c:pt>
                <c:pt idx="1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AE3-42FE-A432-F57354A4DB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8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800" b="1"/>
              <a:t>Indicator 3 : The number of employees increased after their maternity leav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Indicateur 3 : nombre de salariés ayant bénéficié d'une augmentation dans l'année suivant leur congé maternité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B83-411B-9B28-CCFBD0EB1EE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B83-411B-9B28-CCFBD0EB1EE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B83-411B-9B28-CCFBD0EB1EE7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B83-411B-9B28-CCFBD0EB1EE7}"/>
              </c:ext>
            </c:extLst>
          </c:dPt>
          <c:cat>
            <c:numRef>
              <c:f>Feuil1!$A$2:$A$5</c:f>
              <c:numCache>
                <c:formatCode>General</c:formatCode>
                <c:ptCount val="4"/>
              </c:numCache>
            </c:numRef>
          </c:cat>
          <c:val>
            <c:numRef>
              <c:f>Feuil1!$B$2:$B$5</c:f>
              <c:numCache>
                <c:formatCode>General</c:formatCode>
                <c:ptCount val="4"/>
                <c:pt idx="0">
                  <c:v>10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B83-411B-9B28-CCFBD0EB1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8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800" b="1" dirty="0"/>
              <a:t>Indicator 2 : Difference in the distribution of individual increase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Indicateur 2 : écart de répartition des augmentations individuel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19D-47D8-BFB5-2A8EF19A360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19D-47D8-BFB5-2A8EF19A360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19D-47D8-BFB5-2A8EF19A360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619D-47D8-BFB5-2A8EF19A360D}"/>
              </c:ext>
            </c:extLst>
          </c:dPt>
          <c:cat>
            <c:numRef>
              <c:f>Feuil1!$A$2:$A$5</c:f>
              <c:numCache>
                <c:formatCode>General</c:formatCode>
                <c:ptCount val="4"/>
              </c:numCache>
            </c:numRef>
          </c:cat>
          <c:val>
            <c:numRef>
              <c:f>Feuil1!$B$2:$B$5</c:f>
              <c:numCache>
                <c:formatCode>General</c:formatCode>
                <c:ptCount val="4"/>
                <c:pt idx="0">
                  <c:v>50</c:v>
                </c:pt>
                <c:pt idx="1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19D-47D8-BFB5-2A8EF19A36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7678</cdr:x>
      <cdr:y>0.5062</cdr:y>
    </cdr:from>
    <cdr:to>
      <cdr:x>0.65935</cdr:x>
      <cdr:y>0.70132</cdr:y>
    </cdr:to>
    <cdr:sp macro="" textlink="">
      <cdr:nvSpPr>
        <cdr:cNvPr id="2" name="ZoneTexte 11">
          <a:extLst xmlns:a="http://schemas.openxmlformats.org/drawingml/2006/main">
            <a:ext uri="{FF2B5EF4-FFF2-40B4-BE49-F238E27FC236}">
              <a16:creationId xmlns:a16="http://schemas.microsoft.com/office/drawing/2014/main" id="{F8A1FA64-6D31-4092-8312-C488936D0B15}"/>
            </a:ext>
          </a:extLst>
        </cdr:cNvPr>
        <cdr:cNvSpPr txBox="1"/>
      </cdr:nvSpPr>
      <cdr:spPr>
        <a:xfrm xmlns:a="http://schemas.openxmlformats.org/drawingml/2006/main">
          <a:off x="1205118" y="1141391"/>
          <a:ext cx="903748" cy="43997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fr-FR" sz="1600" dirty="0"/>
            <a:t>10 / 10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69CA8AC-0F45-4D0D-84A3-F701A4371683}" type="datetimeFigureOut">
              <a:rPr lang="fr-FR" smtClean="0"/>
              <a:t>05/04/2021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11A541A-C2FE-44BC-996D-C3D6A32D8FD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342949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F20250E8-7DDC-4C1B-9814-DC15BEC8F2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412242" y="6289849"/>
            <a:ext cx="2742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/>
                </a:solidFill>
              </a:defRPr>
            </a:lvl1pPr>
          </a:lstStyle>
          <a:p>
            <a:fld id="{CC4301F5-AF5F-4858-A05F-AF733E15DAB2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047750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Watch placeholder"/>
          <p:cNvSpPr>
            <a:spLocks noGrp="1"/>
          </p:cNvSpPr>
          <p:nvPr>
            <p:ph type="pic" sz="quarter" idx="10"/>
          </p:nvPr>
        </p:nvSpPr>
        <p:spPr>
          <a:xfrm>
            <a:off x="4749800" y="2432428"/>
            <a:ext cx="2559050" cy="3010997"/>
          </a:xfrm>
          <a:custGeom>
            <a:avLst/>
            <a:gdLst>
              <a:gd name="connsiteX0" fmla="*/ 438148 w 2522538"/>
              <a:gd name="connsiteY0" fmla="*/ 0 h 2959100"/>
              <a:gd name="connsiteX1" fmla="*/ 2084391 w 2522538"/>
              <a:gd name="connsiteY1" fmla="*/ 0 h 2959100"/>
              <a:gd name="connsiteX2" fmla="*/ 2522538 w 2522538"/>
              <a:gd name="connsiteY2" fmla="*/ 442165 h 2959100"/>
              <a:gd name="connsiteX3" fmla="*/ 2522538 w 2522538"/>
              <a:gd name="connsiteY3" fmla="*/ 2516936 h 2959100"/>
              <a:gd name="connsiteX4" fmla="*/ 2084391 w 2522538"/>
              <a:gd name="connsiteY4" fmla="*/ 2959100 h 2959100"/>
              <a:gd name="connsiteX5" fmla="*/ 438148 w 2522538"/>
              <a:gd name="connsiteY5" fmla="*/ 2959100 h 2959100"/>
              <a:gd name="connsiteX6" fmla="*/ 0 w 2522538"/>
              <a:gd name="connsiteY6" fmla="*/ 2516936 h 2959100"/>
              <a:gd name="connsiteX7" fmla="*/ 0 w 2522538"/>
              <a:gd name="connsiteY7" fmla="*/ 442165 h 2959100"/>
              <a:gd name="connsiteX8" fmla="*/ 438148 w 2522538"/>
              <a:gd name="connsiteY8" fmla="*/ 0 h 2959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22538" h="2959100">
                <a:moveTo>
                  <a:pt x="438148" y="0"/>
                </a:moveTo>
                <a:cubicBezTo>
                  <a:pt x="2084391" y="0"/>
                  <a:pt x="2084391" y="0"/>
                  <a:pt x="2084391" y="0"/>
                </a:cubicBezTo>
                <a:cubicBezTo>
                  <a:pt x="2326861" y="0"/>
                  <a:pt x="2522538" y="199824"/>
                  <a:pt x="2522538" y="442165"/>
                </a:cubicBezTo>
                <a:cubicBezTo>
                  <a:pt x="2522538" y="2516936"/>
                  <a:pt x="2522538" y="2516936"/>
                  <a:pt x="2522538" y="2516936"/>
                </a:cubicBezTo>
                <a:cubicBezTo>
                  <a:pt x="2522538" y="2759276"/>
                  <a:pt x="2326861" y="2959100"/>
                  <a:pt x="2084391" y="2959100"/>
                </a:cubicBezTo>
                <a:lnTo>
                  <a:pt x="438148" y="2959100"/>
                </a:lnTo>
                <a:cubicBezTo>
                  <a:pt x="195678" y="2959100"/>
                  <a:pt x="0" y="2759276"/>
                  <a:pt x="0" y="2516936"/>
                </a:cubicBezTo>
                <a:cubicBezTo>
                  <a:pt x="0" y="442165"/>
                  <a:pt x="0" y="442165"/>
                  <a:pt x="0" y="442165"/>
                </a:cubicBezTo>
                <a:cubicBezTo>
                  <a:pt x="0" y="199824"/>
                  <a:pt x="195678" y="0"/>
                  <a:pt x="43814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fr-FR"/>
              <a:t>Cliquez sur l'icône pour ajouter une image</a:t>
            </a:r>
            <a:endParaRPr lang="ru-RU"/>
          </a:p>
        </p:txBody>
      </p:sp>
      <p:pic>
        <p:nvPicPr>
          <p:cNvPr id="3" name="Picture 2" descr="Content Slide 1 Black Bracket.png">
            <a:extLst>
              <a:ext uri="{FF2B5EF4-FFF2-40B4-BE49-F238E27FC236}">
                <a16:creationId xmlns:a16="http://schemas.microsoft.com/office/drawing/2014/main" id="{1203E3FA-239A-42F4-9641-AA2AC5CD74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1437" y="359261"/>
            <a:ext cx="268355" cy="784225"/>
          </a:xfrm>
          <a:prstGeom prst="rect">
            <a:avLst/>
          </a:prstGeom>
        </p:spPr>
      </p:pic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1C4CE4FB-9887-43B0-891E-C6EB5C01D2E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4392" y="274321"/>
            <a:ext cx="8050722" cy="954107"/>
          </a:xfrm>
        </p:spPr>
        <p:txBody>
          <a:bodyPr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5600" kern="1200" cap="all" baseline="0" dirty="0" smtClean="0">
                <a:solidFill>
                  <a:srgbClr val="C2032D"/>
                </a:solidFill>
                <a:latin typeface="Barlow Condensed ExtraBold"/>
                <a:ea typeface="+mn-ea"/>
                <a:cs typeface="Barlow Condensed ExtraBold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600" b="0" i="0" u="none" strike="noStrike" kern="1200" cap="all" spc="0" normalizeH="0" baseline="0" noProof="0" dirty="0">
                <a:ln>
                  <a:noFill/>
                </a:ln>
                <a:solidFill>
                  <a:srgbClr val="C2032D"/>
                </a:solidFill>
                <a:effectLst/>
                <a:uLnTx/>
                <a:uFillTx/>
                <a:latin typeface="Barlow Condensed ExtraBold"/>
                <a:ea typeface="+mn-ea"/>
                <a:cs typeface="Barlow Condensed ExtraBold"/>
              </a:rPr>
              <a:t>SLIDE TIT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FC641F3-6C5F-4E76-B54B-1D941C3655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7880" y="6462133"/>
            <a:ext cx="170508" cy="173353"/>
          </a:xfrm>
          <a:prstGeom prst="rect">
            <a:avLst/>
          </a:prstGeom>
        </p:spPr>
      </p:pic>
      <p:sp>
        <p:nvSpPr>
          <p:cNvPr id="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05907" y="6356351"/>
            <a:ext cx="2742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/>
                </a:solidFill>
              </a:defRPr>
            </a:lvl1pPr>
          </a:lstStyle>
          <a:p>
            <a:fld id="{CC4301F5-AF5F-4858-A05F-AF733E15DAB2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296428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ig iPhone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iPhone mockup"/>
          <p:cNvSpPr>
            <a:spLocks noGrp="1"/>
          </p:cNvSpPr>
          <p:nvPr>
            <p:ph type="pic" sz="quarter" idx="11"/>
          </p:nvPr>
        </p:nvSpPr>
        <p:spPr>
          <a:xfrm>
            <a:off x="4098385" y="1625919"/>
            <a:ext cx="4007390" cy="8693669"/>
          </a:xfrm>
          <a:custGeom>
            <a:avLst/>
            <a:gdLst>
              <a:gd name="connsiteX0" fmla="*/ 182633 w 1639888"/>
              <a:gd name="connsiteY0" fmla="*/ 0 h 3557588"/>
              <a:gd name="connsiteX1" fmla="*/ 331022 w 1639888"/>
              <a:gd name="connsiteY1" fmla="*/ 0 h 3557588"/>
              <a:gd name="connsiteX2" fmla="*/ 365265 w 1639888"/>
              <a:gd name="connsiteY2" fmla="*/ 34281 h 3557588"/>
              <a:gd name="connsiteX3" fmla="*/ 365265 w 1639888"/>
              <a:gd name="connsiteY3" fmla="*/ 38090 h 3557588"/>
              <a:gd name="connsiteX4" fmla="*/ 460386 w 1639888"/>
              <a:gd name="connsiteY4" fmla="*/ 133314 h 3557588"/>
              <a:gd name="connsiteX5" fmla="*/ 1183307 w 1639888"/>
              <a:gd name="connsiteY5" fmla="*/ 133314 h 3557588"/>
              <a:gd name="connsiteX6" fmla="*/ 1278428 w 1639888"/>
              <a:gd name="connsiteY6" fmla="*/ 38090 h 3557588"/>
              <a:gd name="connsiteX7" fmla="*/ 1278428 w 1639888"/>
              <a:gd name="connsiteY7" fmla="*/ 34281 h 3557588"/>
              <a:gd name="connsiteX8" fmla="*/ 1308867 w 1639888"/>
              <a:gd name="connsiteY8" fmla="*/ 0 h 3557588"/>
              <a:gd name="connsiteX9" fmla="*/ 1461060 w 1639888"/>
              <a:gd name="connsiteY9" fmla="*/ 0 h 3557588"/>
              <a:gd name="connsiteX10" fmla="*/ 1639888 w 1639888"/>
              <a:gd name="connsiteY10" fmla="*/ 182831 h 3557588"/>
              <a:gd name="connsiteX11" fmla="*/ 1639888 w 1639888"/>
              <a:gd name="connsiteY11" fmla="*/ 3378566 h 3557588"/>
              <a:gd name="connsiteX12" fmla="*/ 1461060 w 1639888"/>
              <a:gd name="connsiteY12" fmla="*/ 3557588 h 3557588"/>
              <a:gd name="connsiteX13" fmla="*/ 182633 w 1639888"/>
              <a:gd name="connsiteY13" fmla="*/ 3557588 h 3557588"/>
              <a:gd name="connsiteX14" fmla="*/ 0 w 1639888"/>
              <a:gd name="connsiteY14" fmla="*/ 3378566 h 3557588"/>
              <a:gd name="connsiteX15" fmla="*/ 0 w 1639888"/>
              <a:gd name="connsiteY15" fmla="*/ 182831 h 3557588"/>
              <a:gd name="connsiteX16" fmla="*/ 182633 w 1639888"/>
              <a:gd name="connsiteY16" fmla="*/ 0 h 355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639888" h="3557588">
                <a:moveTo>
                  <a:pt x="182633" y="0"/>
                </a:moveTo>
                <a:cubicBezTo>
                  <a:pt x="182633" y="0"/>
                  <a:pt x="182633" y="0"/>
                  <a:pt x="331022" y="0"/>
                </a:cubicBezTo>
                <a:cubicBezTo>
                  <a:pt x="350046" y="0"/>
                  <a:pt x="365265" y="15236"/>
                  <a:pt x="365265" y="34281"/>
                </a:cubicBezTo>
                <a:cubicBezTo>
                  <a:pt x="365265" y="34281"/>
                  <a:pt x="365265" y="34281"/>
                  <a:pt x="365265" y="38090"/>
                </a:cubicBezTo>
                <a:cubicBezTo>
                  <a:pt x="365265" y="87607"/>
                  <a:pt x="407119" y="133314"/>
                  <a:pt x="460386" y="133314"/>
                </a:cubicBezTo>
                <a:cubicBezTo>
                  <a:pt x="460386" y="133314"/>
                  <a:pt x="460386" y="133314"/>
                  <a:pt x="1183307" y="133314"/>
                </a:cubicBezTo>
                <a:cubicBezTo>
                  <a:pt x="1236575" y="133314"/>
                  <a:pt x="1278428" y="87607"/>
                  <a:pt x="1278428" y="38090"/>
                </a:cubicBezTo>
                <a:cubicBezTo>
                  <a:pt x="1278428" y="38090"/>
                  <a:pt x="1278428" y="38090"/>
                  <a:pt x="1278428" y="34281"/>
                </a:cubicBezTo>
                <a:cubicBezTo>
                  <a:pt x="1278428" y="15236"/>
                  <a:pt x="1293647" y="0"/>
                  <a:pt x="1308867" y="0"/>
                </a:cubicBezTo>
                <a:cubicBezTo>
                  <a:pt x="1308867" y="0"/>
                  <a:pt x="1308867" y="0"/>
                  <a:pt x="1461060" y="0"/>
                </a:cubicBezTo>
                <a:cubicBezTo>
                  <a:pt x="1559986" y="0"/>
                  <a:pt x="1639888" y="79989"/>
                  <a:pt x="1639888" y="182831"/>
                </a:cubicBezTo>
                <a:cubicBezTo>
                  <a:pt x="1639888" y="182831"/>
                  <a:pt x="1639888" y="182831"/>
                  <a:pt x="1639888" y="3378566"/>
                </a:cubicBezTo>
                <a:cubicBezTo>
                  <a:pt x="1639888" y="3477600"/>
                  <a:pt x="1559986" y="3557588"/>
                  <a:pt x="1461060" y="3557588"/>
                </a:cubicBezTo>
                <a:cubicBezTo>
                  <a:pt x="1461060" y="3557588"/>
                  <a:pt x="1461060" y="3557588"/>
                  <a:pt x="182633" y="3557588"/>
                </a:cubicBezTo>
                <a:cubicBezTo>
                  <a:pt x="83707" y="3557588"/>
                  <a:pt x="0" y="3477600"/>
                  <a:pt x="0" y="3378566"/>
                </a:cubicBezTo>
                <a:cubicBezTo>
                  <a:pt x="0" y="3378566"/>
                  <a:pt x="0" y="3378566"/>
                  <a:pt x="0" y="182831"/>
                </a:cubicBezTo>
                <a:cubicBezTo>
                  <a:pt x="0" y="79989"/>
                  <a:pt x="83707" y="0"/>
                  <a:pt x="182633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/>
          <a:p>
            <a:r>
              <a:rPr lang="fr-FR"/>
              <a:t>Cliquez sur l'icône pour ajouter une image</a:t>
            </a:r>
            <a:endParaRPr lang="ru-RU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7504274-1BD5-4786-8F42-CC4AD32F02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7880" y="6462133"/>
            <a:ext cx="170508" cy="173353"/>
          </a:xfrm>
          <a:prstGeom prst="rect">
            <a:avLst/>
          </a:prstGeom>
        </p:spPr>
      </p:pic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05907" y="6356351"/>
            <a:ext cx="2742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/>
                </a:solidFill>
              </a:defRPr>
            </a:lvl1pPr>
          </a:lstStyle>
          <a:p>
            <a:fld id="{CC4301F5-AF5F-4858-A05F-AF733E15DAB2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931854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5989638" y="3028950"/>
            <a:ext cx="4313238" cy="2705100"/>
          </a:xfrm>
          <a:custGeom>
            <a:avLst/>
            <a:gdLst>
              <a:gd name="connsiteX0" fmla="*/ 0 w 4313238"/>
              <a:gd name="connsiteY0" fmla="*/ 0 h 2705100"/>
              <a:gd name="connsiteX1" fmla="*/ 4313238 w 4313238"/>
              <a:gd name="connsiteY1" fmla="*/ 0 h 2705100"/>
              <a:gd name="connsiteX2" fmla="*/ 4313238 w 4313238"/>
              <a:gd name="connsiteY2" fmla="*/ 2705100 h 2705100"/>
              <a:gd name="connsiteX3" fmla="*/ 0 w 4313238"/>
              <a:gd name="connsiteY3" fmla="*/ 2705100 h 2705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13238" h="2705100">
                <a:moveTo>
                  <a:pt x="0" y="0"/>
                </a:moveTo>
                <a:lnTo>
                  <a:pt x="4313238" y="0"/>
                </a:lnTo>
                <a:lnTo>
                  <a:pt x="4313238" y="2705100"/>
                </a:lnTo>
                <a:lnTo>
                  <a:pt x="0" y="27051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fr-FR"/>
              <a:t>Cliquez sur l'icône pour ajouter une image</a:t>
            </a:r>
            <a:endParaRPr lang="ru-RU"/>
          </a:p>
        </p:txBody>
      </p:sp>
      <p:pic>
        <p:nvPicPr>
          <p:cNvPr id="3" name="Picture 2" descr="Content Slide 1 Black Bracket.png">
            <a:extLst>
              <a:ext uri="{FF2B5EF4-FFF2-40B4-BE49-F238E27FC236}">
                <a16:creationId xmlns:a16="http://schemas.microsoft.com/office/drawing/2014/main" id="{7E87A803-2E01-4D5C-9B0A-28778CDF08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1437" y="359261"/>
            <a:ext cx="268355" cy="784225"/>
          </a:xfrm>
          <a:prstGeom prst="rect">
            <a:avLst/>
          </a:prstGeom>
        </p:spPr>
      </p:pic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DD1B9015-B860-4290-822D-A01BEAB420A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4392" y="274321"/>
            <a:ext cx="8050722" cy="954107"/>
          </a:xfrm>
        </p:spPr>
        <p:txBody>
          <a:bodyPr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5600" kern="1200" cap="all" baseline="0" dirty="0" smtClean="0">
                <a:solidFill>
                  <a:srgbClr val="C2032D"/>
                </a:solidFill>
                <a:latin typeface="Barlow Condensed ExtraBold"/>
                <a:ea typeface="+mn-ea"/>
                <a:cs typeface="Barlow Condensed ExtraBold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600" b="0" i="0" u="none" strike="noStrike" kern="1200" cap="all" spc="0" normalizeH="0" baseline="0" noProof="0" dirty="0">
                <a:ln>
                  <a:noFill/>
                </a:ln>
                <a:solidFill>
                  <a:srgbClr val="C2032D"/>
                </a:solidFill>
                <a:effectLst/>
                <a:uLnTx/>
                <a:uFillTx/>
                <a:latin typeface="Barlow Condensed ExtraBold"/>
                <a:ea typeface="+mn-ea"/>
                <a:cs typeface="Barlow Condensed ExtraBold"/>
              </a:rPr>
              <a:t>SLIDE TIT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33EDD3C-19E7-4443-A8DA-570DFB2616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7880" y="6462133"/>
            <a:ext cx="170508" cy="173353"/>
          </a:xfrm>
          <a:prstGeom prst="rect">
            <a:avLst/>
          </a:prstGeom>
        </p:spPr>
      </p:pic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05907" y="6356351"/>
            <a:ext cx="2742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/>
                </a:solidFill>
              </a:defRPr>
            </a:lvl1pPr>
          </a:lstStyle>
          <a:p>
            <a:fld id="{CC4301F5-AF5F-4858-A05F-AF733E15DAB2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610344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4691065" y="1771650"/>
            <a:ext cx="2809875" cy="3760788"/>
          </a:xfrm>
          <a:custGeom>
            <a:avLst/>
            <a:gdLst>
              <a:gd name="connsiteX0" fmla="*/ 0 w 2809875"/>
              <a:gd name="connsiteY0" fmla="*/ 0 h 3760788"/>
              <a:gd name="connsiteX1" fmla="*/ 2809875 w 2809875"/>
              <a:gd name="connsiteY1" fmla="*/ 0 h 3760788"/>
              <a:gd name="connsiteX2" fmla="*/ 2809875 w 2809875"/>
              <a:gd name="connsiteY2" fmla="*/ 3760788 h 3760788"/>
              <a:gd name="connsiteX3" fmla="*/ 0 w 2809875"/>
              <a:gd name="connsiteY3" fmla="*/ 3760788 h 3760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09875" h="3760788">
                <a:moveTo>
                  <a:pt x="0" y="0"/>
                </a:moveTo>
                <a:lnTo>
                  <a:pt x="2809875" y="0"/>
                </a:lnTo>
                <a:lnTo>
                  <a:pt x="2809875" y="3760788"/>
                </a:lnTo>
                <a:lnTo>
                  <a:pt x="0" y="376078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fr-FR"/>
              <a:t>Cliquez sur l'icône pour ajouter une image</a:t>
            </a:r>
            <a:endParaRPr lang="ru-RU"/>
          </a:p>
        </p:txBody>
      </p:sp>
      <p:pic>
        <p:nvPicPr>
          <p:cNvPr id="3" name="Picture 2" descr="Content Slide 1 Black Bracket.png">
            <a:extLst>
              <a:ext uri="{FF2B5EF4-FFF2-40B4-BE49-F238E27FC236}">
                <a16:creationId xmlns:a16="http://schemas.microsoft.com/office/drawing/2014/main" id="{022A4AC2-29CE-49CE-8139-9B7C0ED552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1437" y="359261"/>
            <a:ext cx="268355" cy="784225"/>
          </a:xfrm>
          <a:prstGeom prst="rect">
            <a:avLst/>
          </a:prstGeom>
        </p:spPr>
      </p:pic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FFC11256-D164-4995-BEAF-078594090B7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4392" y="274321"/>
            <a:ext cx="8050722" cy="954107"/>
          </a:xfrm>
        </p:spPr>
        <p:txBody>
          <a:bodyPr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5600" kern="1200" cap="all" baseline="0" dirty="0" smtClean="0">
                <a:solidFill>
                  <a:srgbClr val="C2032D"/>
                </a:solidFill>
                <a:latin typeface="Barlow Condensed ExtraBold"/>
                <a:ea typeface="+mn-ea"/>
                <a:cs typeface="Barlow Condensed ExtraBold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600" b="0" i="0" u="none" strike="noStrike" kern="1200" cap="all" spc="0" normalizeH="0" baseline="0" noProof="0" dirty="0">
                <a:ln>
                  <a:noFill/>
                </a:ln>
                <a:solidFill>
                  <a:srgbClr val="C2032D"/>
                </a:solidFill>
                <a:effectLst/>
                <a:uLnTx/>
                <a:uFillTx/>
                <a:latin typeface="Barlow Condensed ExtraBold"/>
                <a:ea typeface="+mn-ea"/>
                <a:cs typeface="Barlow Condensed ExtraBold"/>
              </a:rPr>
              <a:t>SLIDE TIT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C600B00-A2B0-4F6D-AEE2-50960B05BB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7880" y="6462133"/>
            <a:ext cx="170508" cy="173353"/>
          </a:xfrm>
          <a:prstGeom prst="rect">
            <a:avLst/>
          </a:prstGeom>
        </p:spPr>
      </p:pic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05907" y="6356351"/>
            <a:ext cx="2742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/>
                </a:solidFill>
              </a:defRPr>
            </a:lvl1pPr>
          </a:lstStyle>
          <a:p>
            <a:fld id="{CC4301F5-AF5F-4858-A05F-AF733E15DAB2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501573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ontent Slide 1 Black Bracket.png">
            <a:extLst>
              <a:ext uri="{FF2B5EF4-FFF2-40B4-BE49-F238E27FC236}">
                <a16:creationId xmlns:a16="http://schemas.microsoft.com/office/drawing/2014/main" id="{85576A1D-D703-4E03-B586-DD0D36F324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1437" y="359261"/>
            <a:ext cx="268355" cy="784225"/>
          </a:xfrm>
          <a:prstGeom prst="rect">
            <a:avLst/>
          </a:prstGeom>
        </p:spPr>
      </p:pic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1CCF8C3F-B31E-4AB4-AD7F-7EBB320F94A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4392" y="274321"/>
            <a:ext cx="8050722" cy="954107"/>
          </a:xfrm>
        </p:spPr>
        <p:txBody>
          <a:bodyPr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5600" kern="1200" cap="all" baseline="0" dirty="0" smtClean="0">
                <a:solidFill>
                  <a:srgbClr val="C2032D"/>
                </a:solidFill>
                <a:latin typeface="Barlow Condensed ExtraBold"/>
                <a:ea typeface="+mn-ea"/>
                <a:cs typeface="Barlow Condensed ExtraBold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600" b="0" i="0" u="none" strike="noStrike" kern="1200" cap="all" spc="0" normalizeH="0" baseline="0" noProof="0" dirty="0">
                <a:ln>
                  <a:noFill/>
                </a:ln>
                <a:solidFill>
                  <a:srgbClr val="C2032D"/>
                </a:solidFill>
                <a:effectLst/>
                <a:uLnTx/>
                <a:uFillTx/>
                <a:latin typeface="Barlow Condensed ExtraBold"/>
                <a:ea typeface="+mn-ea"/>
                <a:cs typeface="Barlow Condensed ExtraBold"/>
              </a:rPr>
              <a:t>SLIDE TIT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8A88BE1-2D5C-4EC3-ACCC-FB672C4A43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7880" y="6462133"/>
            <a:ext cx="170508" cy="173353"/>
          </a:xfrm>
          <a:prstGeom prst="rect">
            <a:avLst/>
          </a:prstGeom>
        </p:spPr>
      </p:pic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05907" y="6356351"/>
            <a:ext cx="2742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/>
                </a:solidFill>
              </a:defRPr>
            </a:lvl1pPr>
          </a:lstStyle>
          <a:p>
            <a:fld id="{CC4301F5-AF5F-4858-A05F-AF733E15DAB2}" type="slidenum">
              <a:rPr lang="fr-FR" smtClean="0"/>
              <a:t>‹#›</a:t>
            </a:fld>
            <a:endParaRPr lang="fr-FR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7555852" y="1673609"/>
            <a:ext cx="2215956" cy="4832790"/>
          </a:xfrm>
          <a:custGeom>
            <a:avLst/>
            <a:gdLst>
              <a:gd name="connsiteX0" fmla="*/ 182633 w 1639888"/>
              <a:gd name="connsiteY0" fmla="*/ 0 h 3557588"/>
              <a:gd name="connsiteX1" fmla="*/ 331022 w 1639888"/>
              <a:gd name="connsiteY1" fmla="*/ 0 h 3557588"/>
              <a:gd name="connsiteX2" fmla="*/ 365265 w 1639888"/>
              <a:gd name="connsiteY2" fmla="*/ 34281 h 3557588"/>
              <a:gd name="connsiteX3" fmla="*/ 365265 w 1639888"/>
              <a:gd name="connsiteY3" fmla="*/ 38090 h 3557588"/>
              <a:gd name="connsiteX4" fmla="*/ 460386 w 1639888"/>
              <a:gd name="connsiteY4" fmla="*/ 133314 h 3557588"/>
              <a:gd name="connsiteX5" fmla="*/ 1183307 w 1639888"/>
              <a:gd name="connsiteY5" fmla="*/ 133314 h 3557588"/>
              <a:gd name="connsiteX6" fmla="*/ 1278428 w 1639888"/>
              <a:gd name="connsiteY6" fmla="*/ 38090 h 3557588"/>
              <a:gd name="connsiteX7" fmla="*/ 1278428 w 1639888"/>
              <a:gd name="connsiteY7" fmla="*/ 34281 h 3557588"/>
              <a:gd name="connsiteX8" fmla="*/ 1308867 w 1639888"/>
              <a:gd name="connsiteY8" fmla="*/ 0 h 3557588"/>
              <a:gd name="connsiteX9" fmla="*/ 1461060 w 1639888"/>
              <a:gd name="connsiteY9" fmla="*/ 0 h 3557588"/>
              <a:gd name="connsiteX10" fmla="*/ 1639888 w 1639888"/>
              <a:gd name="connsiteY10" fmla="*/ 182831 h 3557588"/>
              <a:gd name="connsiteX11" fmla="*/ 1639888 w 1639888"/>
              <a:gd name="connsiteY11" fmla="*/ 3378566 h 3557588"/>
              <a:gd name="connsiteX12" fmla="*/ 1461060 w 1639888"/>
              <a:gd name="connsiteY12" fmla="*/ 3557588 h 3557588"/>
              <a:gd name="connsiteX13" fmla="*/ 182633 w 1639888"/>
              <a:gd name="connsiteY13" fmla="*/ 3557588 h 3557588"/>
              <a:gd name="connsiteX14" fmla="*/ 0 w 1639888"/>
              <a:gd name="connsiteY14" fmla="*/ 3378566 h 3557588"/>
              <a:gd name="connsiteX15" fmla="*/ 0 w 1639888"/>
              <a:gd name="connsiteY15" fmla="*/ 182831 h 3557588"/>
              <a:gd name="connsiteX16" fmla="*/ 182633 w 1639888"/>
              <a:gd name="connsiteY16" fmla="*/ 0 h 355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639888" h="3557588">
                <a:moveTo>
                  <a:pt x="182633" y="0"/>
                </a:moveTo>
                <a:cubicBezTo>
                  <a:pt x="182633" y="0"/>
                  <a:pt x="182633" y="0"/>
                  <a:pt x="331022" y="0"/>
                </a:cubicBezTo>
                <a:cubicBezTo>
                  <a:pt x="350046" y="0"/>
                  <a:pt x="365265" y="15236"/>
                  <a:pt x="365265" y="34281"/>
                </a:cubicBezTo>
                <a:cubicBezTo>
                  <a:pt x="365265" y="34281"/>
                  <a:pt x="365265" y="34281"/>
                  <a:pt x="365265" y="38090"/>
                </a:cubicBezTo>
                <a:cubicBezTo>
                  <a:pt x="365265" y="87607"/>
                  <a:pt x="407119" y="133314"/>
                  <a:pt x="460386" y="133314"/>
                </a:cubicBezTo>
                <a:cubicBezTo>
                  <a:pt x="460386" y="133314"/>
                  <a:pt x="460386" y="133314"/>
                  <a:pt x="1183307" y="133314"/>
                </a:cubicBezTo>
                <a:cubicBezTo>
                  <a:pt x="1236575" y="133314"/>
                  <a:pt x="1278428" y="87607"/>
                  <a:pt x="1278428" y="38090"/>
                </a:cubicBezTo>
                <a:cubicBezTo>
                  <a:pt x="1278428" y="38090"/>
                  <a:pt x="1278428" y="38090"/>
                  <a:pt x="1278428" y="34281"/>
                </a:cubicBezTo>
                <a:cubicBezTo>
                  <a:pt x="1278428" y="15236"/>
                  <a:pt x="1293647" y="0"/>
                  <a:pt x="1308867" y="0"/>
                </a:cubicBezTo>
                <a:cubicBezTo>
                  <a:pt x="1308867" y="0"/>
                  <a:pt x="1308867" y="0"/>
                  <a:pt x="1461060" y="0"/>
                </a:cubicBezTo>
                <a:cubicBezTo>
                  <a:pt x="1559986" y="0"/>
                  <a:pt x="1639888" y="79989"/>
                  <a:pt x="1639888" y="182831"/>
                </a:cubicBezTo>
                <a:cubicBezTo>
                  <a:pt x="1639888" y="182831"/>
                  <a:pt x="1639888" y="182831"/>
                  <a:pt x="1639888" y="3378566"/>
                </a:cubicBezTo>
                <a:cubicBezTo>
                  <a:pt x="1639888" y="3477600"/>
                  <a:pt x="1559986" y="3557588"/>
                  <a:pt x="1461060" y="3557588"/>
                </a:cubicBezTo>
                <a:cubicBezTo>
                  <a:pt x="1461060" y="3557588"/>
                  <a:pt x="1461060" y="3557588"/>
                  <a:pt x="182633" y="3557588"/>
                </a:cubicBezTo>
                <a:cubicBezTo>
                  <a:pt x="83707" y="3557588"/>
                  <a:pt x="0" y="3477600"/>
                  <a:pt x="0" y="3378566"/>
                </a:cubicBezTo>
                <a:cubicBezTo>
                  <a:pt x="0" y="3378566"/>
                  <a:pt x="0" y="3378566"/>
                  <a:pt x="0" y="182831"/>
                </a:cubicBezTo>
                <a:cubicBezTo>
                  <a:pt x="0" y="79989"/>
                  <a:pt x="83707" y="0"/>
                  <a:pt x="182633" y="0"/>
                </a:cubicBez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9070908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42B1108-B329-4F44-9784-D8CC61CBAB1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C677800A-CA21-46BF-B811-5603E2F932C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FAEBFDC-E343-461F-A7CA-0B2F97A1E8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AD7597-8786-4BAE-B180-568578B7ED62}" type="datetimeFigureOut">
              <a:rPr lang="fr-FR" smtClean="0"/>
              <a:t>05/04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E8F8F41-C225-4053-9BEA-846598311F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91C2E3A-8898-4A9A-A471-5D84B7FCFD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4301F5-AF5F-4858-A05F-AF733E15DAB2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314288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">
    <p:bg>
      <p:bgPr>
        <a:gradFill rotWithShape="1">
          <a:gsLst>
            <a:gs pos="0">
              <a:schemeClr val="tx1"/>
            </a:gs>
            <a:gs pos="100000">
              <a:schemeClr val="tx1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75626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bg>
      <p:bgPr>
        <a:gradFill rotWithShape="1">
          <a:gsLst>
            <a:gs pos="0">
              <a:schemeClr val="tx1"/>
            </a:gs>
            <a:gs pos="100000">
              <a:schemeClr val="tx1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Gerade Verbindung 9"/>
          <p:cNvCxnSpPr>
            <a:cxnSpLocks/>
          </p:cNvCxnSpPr>
          <p:nvPr/>
        </p:nvCxnSpPr>
        <p:spPr>
          <a:xfrm>
            <a:off x="-269138" y="6305833"/>
            <a:ext cx="9101029" cy="0"/>
          </a:xfrm>
          <a:prstGeom prst="line">
            <a:avLst/>
          </a:prstGeom>
          <a:noFill/>
          <a:ln w="15875" cap="flat" cmpd="sng" algn="ctr">
            <a:solidFill>
              <a:srgbClr val="C4012D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1099624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">
    <p:bg>
      <p:bgPr>
        <a:gradFill rotWithShape="1">
          <a:gsLst>
            <a:gs pos="0">
              <a:schemeClr val="tx1"/>
            </a:gs>
            <a:gs pos="100000">
              <a:schemeClr val="tx1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Gerade Verbindung 9"/>
          <p:cNvCxnSpPr>
            <a:cxnSpLocks/>
          </p:cNvCxnSpPr>
          <p:nvPr/>
        </p:nvCxnSpPr>
        <p:spPr>
          <a:xfrm>
            <a:off x="-269138" y="6305833"/>
            <a:ext cx="12787436" cy="0"/>
          </a:xfrm>
          <a:prstGeom prst="line">
            <a:avLst/>
          </a:prstGeom>
          <a:noFill/>
          <a:ln w="15875" cap="flat" cmpd="sng" algn="ctr">
            <a:solidFill>
              <a:srgbClr val="C4012D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962295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667856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b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Cube photo"/>
          <p:cNvSpPr>
            <a:spLocks noGrp="1"/>
          </p:cNvSpPr>
          <p:nvPr>
            <p:ph type="pic" sz="quarter" idx="12"/>
          </p:nvPr>
        </p:nvSpPr>
        <p:spPr>
          <a:xfrm>
            <a:off x="6405563" y="1473203"/>
            <a:ext cx="2233612" cy="2555875"/>
          </a:xfrm>
          <a:custGeom>
            <a:avLst/>
            <a:gdLst>
              <a:gd name="connsiteX0" fmla="*/ 0 w 2233612"/>
              <a:gd name="connsiteY0" fmla="*/ 719137 h 2555875"/>
              <a:gd name="connsiteX1" fmla="*/ 1054100 w 2233612"/>
              <a:gd name="connsiteY1" fmla="*/ 1325562 h 2555875"/>
              <a:gd name="connsiteX2" fmla="*/ 1054100 w 2233612"/>
              <a:gd name="connsiteY2" fmla="*/ 2555875 h 2555875"/>
              <a:gd name="connsiteX3" fmla="*/ 0 w 2233612"/>
              <a:gd name="connsiteY3" fmla="*/ 1946275 h 2555875"/>
              <a:gd name="connsiteX4" fmla="*/ 2233612 w 2233612"/>
              <a:gd name="connsiteY4" fmla="*/ 712787 h 2555875"/>
              <a:gd name="connsiteX5" fmla="*/ 2233612 w 2233612"/>
              <a:gd name="connsiteY5" fmla="*/ 1941513 h 2555875"/>
              <a:gd name="connsiteX6" fmla="*/ 1173162 w 2233612"/>
              <a:gd name="connsiteY6" fmla="*/ 2555875 h 2555875"/>
              <a:gd name="connsiteX7" fmla="*/ 1173162 w 2233612"/>
              <a:gd name="connsiteY7" fmla="*/ 1325562 h 2555875"/>
              <a:gd name="connsiteX8" fmla="*/ 1119187 w 2233612"/>
              <a:gd name="connsiteY8" fmla="*/ 0 h 2555875"/>
              <a:gd name="connsiteX9" fmla="*/ 2173287 w 2233612"/>
              <a:gd name="connsiteY9" fmla="*/ 609600 h 2555875"/>
              <a:gd name="connsiteX10" fmla="*/ 1111250 w 2233612"/>
              <a:gd name="connsiteY10" fmla="*/ 1222375 h 2555875"/>
              <a:gd name="connsiteX11" fmla="*/ 57150 w 2233612"/>
              <a:gd name="connsiteY11" fmla="*/ 617538 h 255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233612" h="2555875">
                <a:moveTo>
                  <a:pt x="0" y="719137"/>
                </a:moveTo>
                <a:lnTo>
                  <a:pt x="1054100" y="1325562"/>
                </a:lnTo>
                <a:lnTo>
                  <a:pt x="1054100" y="2555875"/>
                </a:lnTo>
                <a:lnTo>
                  <a:pt x="0" y="1946275"/>
                </a:lnTo>
                <a:close/>
                <a:moveTo>
                  <a:pt x="2233612" y="712787"/>
                </a:moveTo>
                <a:lnTo>
                  <a:pt x="2233612" y="1941513"/>
                </a:lnTo>
                <a:lnTo>
                  <a:pt x="1173162" y="2555875"/>
                </a:lnTo>
                <a:lnTo>
                  <a:pt x="1173162" y="1325562"/>
                </a:lnTo>
                <a:close/>
                <a:moveTo>
                  <a:pt x="1119187" y="0"/>
                </a:moveTo>
                <a:lnTo>
                  <a:pt x="2173287" y="609600"/>
                </a:lnTo>
                <a:lnTo>
                  <a:pt x="1111250" y="1222375"/>
                </a:lnTo>
                <a:lnTo>
                  <a:pt x="57150" y="617538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400"/>
            </a:lvl1pPr>
          </a:lstStyle>
          <a:p>
            <a:r>
              <a:rPr lang="fr-FR"/>
              <a:t>Cliquez sur l'icône pour ajouter une image</a:t>
            </a:r>
            <a:endParaRPr lang="ru-RU" dirty="0"/>
          </a:p>
        </p:txBody>
      </p:sp>
      <p:sp>
        <p:nvSpPr>
          <p:cNvPr id="24" name="Cube photo"/>
          <p:cNvSpPr>
            <a:spLocks noGrp="1"/>
          </p:cNvSpPr>
          <p:nvPr>
            <p:ph type="pic" sz="quarter" idx="13"/>
          </p:nvPr>
        </p:nvSpPr>
        <p:spPr>
          <a:xfrm>
            <a:off x="8761058" y="1473203"/>
            <a:ext cx="2233612" cy="2555875"/>
          </a:xfrm>
          <a:custGeom>
            <a:avLst/>
            <a:gdLst>
              <a:gd name="connsiteX0" fmla="*/ 0 w 2233612"/>
              <a:gd name="connsiteY0" fmla="*/ 719137 h 2555875"/>
              <a:gd name="connsiteX1" fmla="*/ 1054100 w 2233612"/>
              <a:gd name="connsiteY1" fmla="*/ 1325562 h 2555875"/>
              <a:gd name="connsiteX2" fmla="*/ 1054100 w 2233612"/>
              <a:gd name="connsiteY2" fmla="*/ 2555875 h 2555875"/>
              <a:gd name="connsiteX3" fmla="*/ 0 w 2233612"/>
              <a:gd name="connsiteY3" fmla="*/ 1946275 h 2555875"/>
              <a:gd name="connsiteX4" fmla="*/ 2233612 w 2233612"/>
              <a:gd name="connsiteY4" fmla="*/ 712787 h 2555875"/>
              <a:gd name="connsiteX5" fmla="*/ 2233612 w 2233612"/>
              <a:gd name="connsiteY5" fmla="*/ 1941513 h 2555875"/>
              <a:gd name="connsiteX6" fmla="*/ 1173162 w 2233612"/>
              <a:gd name="connsiteY6" fmla="*/ 2555875 h 2555875"/>
              <a:gd name="connsiteX7" fmla="*/ 1173162 w 2233612"/>
              <a:gd name="connsiteY7" fmla="*/ 1325562 h 2555875"/>
              <a:gd name="connsiteX8" fmla="*/ 1119187 w 2233612"/>
              <a:gd name="connsiteY8" fmla="*/ 0 h 2555875"/>
              <a:gd name="connsiteX9" fmla="*/ 2173287 w 2233612"/>
              <a:gd name="connsiteY9" fmla="*/ 609600 h 2555875"/>
              <a:gd name="connsiteX10" fmla="*/ 1111250 w 2233612"/>
              <a:gd name="connsiteY10" fmla="*/ 1222375 h 2555875"/>
              <a:gd name="connsiteX11" fmla="*/ 57150 w 2233612"/>
              <a:gd name="connsiteY11" fmla="*/ 617538 h 255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233612" h="2555875">
                <a:moveTo>
                  <a:pt x="0" y="719137"/>
                </a:moveTo>
                <a:lnTo>
                  <a:pt x="1054100" y="1325562"/>
                </a:lnTo>
                <a:lnTo>
                  <a:pt x="1054100" y="2555875"/>
                </a:lnTo>
                <a:lnTo>
                  <a:pt x="0" y="1946275"/>
                </a:lnTo>
                <a:close/>
                <a:moveTo>
                  <a:pt x="2233612" y="712787"/>
                </a:moveTo>
                <a:lnTo>
                  <a:pt x="2233612" y="1941513"/>
                </a:lnTo>
                <a:lnTo>
                  <a:pt x="1173162" y="2555875"/>
                </a:lnTo>
                <a:lnTo>
                  <a:pt x="1173162" y="1325562"/>
                </a:lnTo>
                <a:close/>
                <a:moveTo>
                  <a:pt x="1119187" y="0"/>
                </a:moveTo>
                <a:lnTo>
                  <a:pt x="2173287" y="609600"/>
                </a:lnTo>
                <a:lnTo>
                  <a:pt x="1111250" y="1222375"/>
                </a:lnTo>
                <a:lnTo>
                  <a:pt x="57150" y="617538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400"/>
            </a:lvl1pPr>
          </a:lstStyle>
          <a:p>
            <a:r>
              <a:rPr lang="fr-FR"/>
              <a:t>Cliquez sur l'icône pour ajouter une image</a:t>
            </a:r>
            <a:endParaRPr lang="ru-RU" dirty="0"/>
          </a:p>
        </p:txBody>
      </p:sp>
      <p:sp>
        <p:nvSpPr>
          <p:cNvPr id="25" name="Cube photo"/>
          <p:cNvSpPr>
            <a:spLocks noGrp="1"/>
          </p:cNvSpPr>
          <p:nvPr>
            <p:ph type="pic" sz="quarter" idx="14"/>
          </p:nvPr>
        </p:nvSpPr>
        <p:spPr>
          <a:xfrm>
            <a:off x="7575551" y="3513139"/>
            <a:ext cx="2233612" cy="2555875"/>
          </a:xfrm>
          <a:custGeom>
            <a:avLst/>
            <a:gdLst>
              <a:gd name="connsiteX0" fmla="*/ 0 w 2233612"/>
              <a:gd name="connsiteY0" fmla="*/ 719137 h 2555875"/>
              <a:gd name="connsiteX1" fmla="*/ 1054100 w 2233612"/>
              <a:gd name="connsiteY1" fmla="*/ 1325562 h 2555875"/>
              <a:gd name="connsiteX2" fmla="*/ 1054100 w 2233612"/>
              <a:gd name="connsiteY2" fmla="*/ 2555875 h 2555875"/>
              <a:gd name="connsiteX3" fmla="*/ 0 w 2233612"/>
              <a:gd name="connsiteY3" fmla="*/ 1946275 h 2555875"/>
              <a:gd name="connsiteX4" fmla="*/ 2233612 w 2233612"/>
              <a:gd name="connsiteY4" fmla="*/ 712787 h 2555875"/>
              <a:gd name="connsiteX5" fmla="*/ 2233612 w 2233612"/>
              <a:gd name="connsiteY5" fmla="*/ 1941513 h 2555875"/>
              <a:gd name="connsiteX6" fmla="*/ 1173162 w 2233612"/>
              <a:gd name="connsiteY6" fmla="*/ 2555875 h 2555875"/>
              <a:gd name="connsiteX7" fmla="*/ 1173162 w 2233612"/>
              <a:gd name="connsiteY7" fmla="*/ 1325562 h 2555875"/>
              <a:gd name="connsiteX8" fmla="*/ 1119187 w 2233612"/>
              <a:gd name="connsiteY8" fmla="*/ 0 h 2555875"/>
              <a:gd name="connsiteX9" fmla="*/ 2173287 w 2233612"/>
              <a:gd name="connsiteY9" fmla="*/ 609600 h 2555875"/>
              <a:gd name="connsiteX10" fmla="*/ 1111250 w 2233612"/>
              <a:gd name="connsiteY10" fmla="*/ 1222375 h 2555875"/>
              <a:gd name="connsiteX11" fmla="*/ 57150 w 2233612"/>
              <a:gd name="connsiteY11" fmla="*/ 617538 h 255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233612" h="2555875">
                <a:moveTo>
                  <a:pt x="0" y="719137"/>
                </a:moveTo>
                <a:lnTo>
                  <a:pt x="1054100" y="1325562"/>
                </a:lnTo>
                <a:lnTo>
                  <a:pt x="1054100" y="2555875"/>
                </a:lnTo>
                <a:lnTo>
                  <a:pt x="0" y="1946275"/>
                </a:lnTo>
                <a:close/>
                <a:moveTo>
                  <a:pt x="2233612" y="712787"/>
                </a:moveTo>
                <a:lnTo>
                  <a:pt x="2233612" y="1941513"/>
                </a:lnTo>
                <a:lnTo>
                  <a:pt x="1173162" y="2555875"/>
                </a:lnTo>
                <a:lnTo>
                  <a:pt x="1173162" y="1325562"/>
                </a:lnTo>
                <a:close/>
                <a:moveTo>
                  <a:pt x="1119187" y="0"/>
                </a:moveTo>
                <a:lnTo>
                  <a:pt x="2173287" y="609600"/>
                </a:lnTo>
                <a:lnTo>
                  <a:pt x="1111250" y="1222375"/>
                </a:lnTo>
                <a:lnTo>
                  <a:pt x="57150" y="617538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400"/>
            </a:lvl1pPr>
          </a:lstStyle>
          <a:p>
            <a:r>
              <a:rPr lang="fr-FR"/>
              <a:t>Cliquez sur l'icône pour ajouter une image</a:t>
            </a:r>
            <a:endParaRPr lang="ru-RU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1D2BB3D-4655-4757-AF64-E56BF678A8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7880" y="6462133"/>
            <a:ext cx="170508" cy="173353"/>
          </a:xfrm>
          <a:prstGeom prst="rect">
            <a:avLst/>
          </a:prstGeom>
        </p:spPr>
      </p:pic>
      <p:sp>
        <p:nvSpPr>
          <p:cNvPr id="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05907" y="6356351"/>
            <a:ext cx="2742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/>
                </a:solidFill>
              </a:defRPr>
            </a:lvl1pPr>
          </a:lstStyle>
          <a:p>
            <a:fld id="{CC4301F5-AF5F-4858-A05F-AF733E15DAB2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995110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with vertical dood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ontent Slide 4 Black Line.png">
            <a:extLst>
              <a:ext uri="{FF2B5EF4-FFF2-40B4-BE49-F238E27FC236}">
                <a16:creationId xmlns:a16="http://schemas.microsoft.com/office/drawing/2014/main" id="{6ABA8A97-2FD7-4B94-89E7-DE2A063317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3210" y="429111"/>
            <a:ext cx="63517" cy="644525"/>
          </a:xfrm>
          <a:prstGeom prst="rect">
            <a:avLst/>
          </a:prstGeom>
        </p:spPr>
      </p:pic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D04E21DB-BB8A-4455-AB21-A5B10B5C8BF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4392" y="274321"/>
            <a:ext cx="8050722" cy="954107"/>
          </a:xfrm>
        </p:spPr>
        <p:txBody>
          <a:bodyPr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5600" kern="1200" cap="all" baseline="0" dirty="0" smtClean="0">
                <a:solidFill>
                  <a:srgbClr val="C2032D"/>
                </a:solidFill>
                <a:latin typeface="Barlow Condensed ExtraBold"/>
                <a:ea typeface="+mn-ea"/>
                <a:cs typeface="Barlow Condensed ExtraBold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600" b="0" i="0" u="none" strike="noStrike" kern="1200" cap="all" spc="0" normalizeH="0" baseline="0" noProof="0" dirty="0">
                <a:ln>
                  <a:noFill/>
                </a:ln>
                <a:solidFill>
                  <a:srgbClr val="C2032D"/>
                </a:solidFill>
                <a:effectLst/>
                <a:uLnTx/>
                <a:uFillTx/>
                <a:latin typeface="Barlow Condensed ExtraBold"/>
                <a:ea typeface="+mn-ea"/>
                <a:cs typeface="Barlow Condensed ExtraBold"/>
              </a:rPr>
              <a:t>SLIDE TIT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B8AA6CD-EA3A-4A1C-BFA4-43891C56A2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7880" y="6462133"/>
            <a:ext cx="170508" cy="173353"/>
          </a:xfrm>
          <a:prstGeom prst="rect">
            <a:avLst/>
          </a:prstGeom>
        </p:spPr>
      </p:pic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05907" y="6356351"/>
            <a:ext cx="2742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/>
                </a:solidFill>
              </a:defRPr>
            </a:lvl1pPr>
          </a:lstStyle>
          <a:p>
            <a:fld id="{CC4301F5-AF5F-4858-A05F-AF733E15DAB2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733335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with underline dood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33D29F-39BF-4AF4-B53E-6C9066A42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1" cy="953789"/>
          </a:xfrm>
        </p:spPr>
        <p:txBody>
          <a:bodyPr>
            <a:normAutofit/>
          </a:bodyPr>
          <a:lstStyle>
            <a:lvl1pPr algn="ctr">
              <a:defRPr sz="5600" cap="all" baseline="0"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10" name="Freeform 22">
            <a:extLst>
              <a:ext uri="{FF2B5EF4-FFF2-40B4-BE49-F238E27FC236}">
                <a16:creationId xmlns:a16="http://schemas.microsoft.com/office/drawing/2014/main" id="{C7CECF6E-7A3E-4E09-991E-D37ECD44AC91}"/>
              </a:ext>
            </a:extLst>
          </p:cNvPr>
          <p:cNvSpPr>
            <a:spLocks/>
          </p:cNvSpPr>
          <p:nvPr/>
        </p:nvSpPr>
        <p:spPr bwMode="auto">
          <a:xfrm>
            <a:off x="3820923" y="1176739"/>
            <a:ext cx="4550153" cy="60788"/>
          </a:xfrm>
          <a:custGeom>
            <a:avLst/>
            <a:gdLst>
              <a:gd name="T0" fmla="*/ 738 w 738"/>
              <a:gd name="T1" fmla="*/ 3 h 10"/>
              <a:gd name="T2" fmla="*/ 722 w 738"/>
              <a:gd name="T3" fmla="*/ 5 h 10"/>
              <a:gd name="T4" fmla="*/ 606 w 738"/>
              <a:gd name="T5" fmla="*/ 9 h 10"/>
              <a:gd name="T6" fmla="*/ 486 w 738"/>
              <a:gd name="T7" fmla="*/ 9 h 10"/>
              <a:gd name="T8" fmla="*/ 360 w 738"/>
              <a:gd name="T9" fmla="*/ 7 h 10"/>
              <a:gd name="T10" fmla="*/ 232 w 738"/>
              <a:gd name="T11" fmla="*/ 6 h 10"/>
              <a:gd name="T12" fmla="*/ 140 w 738"/>
              <a:gd name="T13" fmla="*/ 6 h 10"/>
              <a:gd name="T14" fmla="*/ 48 w 738"/>
              <a:gd name="T15" fmla="*/ 10 h 10"/>
              <a:gd name="T16" fmla="*/ 7 w 738"/>
              <a:gd name="T17" fmla="*/ 10 h 10"/>
              <a:gd name="T18" fmla="*/ 3 w 738"/>
              <a:gd name="T19" fmla="*/ 10 h 10"/>
              <a:gd name="T20" fmla="*/ 1 w 738"/>
              <a:gd name="T21" fmla="*/ 8 h 10"/>
              <a:gd name="T22" fmla="*/ 3 w 738"/>
              <a:gd name="T23" fmla="*/ 5 h 10"/>
              <a:gd name="T24" fmla="*/ 7 w 738"/>
              <a:gd name="T25" fmla="*/ 5 h 10"/>
              <a:gd name="T26" fmla="*/ 73 w 738"/>
              <a:gd name="T27" fmla="*/ 3 h 10"/>
              <a:gd name="T28" fmla="*/ 122 w 738"/>
              <a:gd name="T29" fmla="*/ 1 h 10"/>
              <a:gd name="T30" fmla="*/ 244 w 738"/>
              <a:gd name="T31" fmla="*/ 0 h 10"/>
              <a:gd name="T32" fmla="*/ 359 w 738"/>
              <a:gd name="T33" fmla="*/ 1 h 10"/>
              <a:gd name="T34" fmla="*/ 477 w 738"/>
              <a:gd name="T35" fmla="*/ 4 h 10"/>
              <a:gd name="T36" fmla="*/ 566 w 738"/>
              <a:gd name="T37" fmla="*/ 4 h 10"/>
              <a:gd name="T38" fmla="*/ 668 w 738"/>
              <a:gd name="T39" fmla="*/ 3 h 10"/>
              <a:gd name="T40" fmla="*/ 726 w 738"/>
              <a:gd name="T41" fmla="*/ 0 h 10"/>
              <a:gd name="T42" fmla="*/ 738 w 738"/>
              <a:gd name="T43" fmla="*/ 1 h 10"/>
              <a:gd name="T44" fmla="*/ 738 w 738"/>
              <a:gd name="T45" fmla="*/ 3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738" h="10">
                <a:moveTo>
                  <a:pt x="738" y="3"/>
                </a:moveTo>
                <a:cubicBezTo>
                  <a:pt x="733" y="3"/>
                  <a:pt x="728" y="4"/>
                  <a:pt x="722" y="5"/>
                </a:cubicBezTo>
                <a:cubicBezTo>
                  <a:pt x="684" y="8"/>
                  <a:pt x="645" y="9"/>
                  <a:pt x="606" y="9"/>
                </a:cubicBezTo>
                <a:cubicBezTo>
                  <a:pt x="566" y="9"/>
                  <a:pt x="526" y="10"/>
                  <a:pt x="486" y="9"/>
                </a:cubicBezTo>
                <a:cubicBezTo>
                  <a:pt x="444" y="9"/>
                  <a:pt x="402" y="8"/>
                  <a:pt x="360" y="7"/>
                </a:cubicBezTo>
                <a:cubicBezTo>
                  <a:pt x="317" y="6"/>
                  <a:pt x="275" y="6"/>
                  <a:pt x="232" y="6"/>
                </a:cubicBezTo>
                <a:cubicBezTo>
                  <a:pt x="201" y="5"/>
                  <a:pt x="171" y="6"/>
                  <a:pt x="140" y="6"/>
                </a:cubicBezTo>
                <a:cubicBezTo>
                  <a:pt x="110" y="7"/>
                  <a:pt x="79" y="9"/>
                  <a:pt x="48" y="10"/>
                </a:cubicBezTo>
                <a:cubicBezTo>
                  <a:pt x="34" y="10"/>
                  <a:pt x="21" y="10"/>
                  <a:pt x="7" y="10"/>
                </a:cubicBezTo>
                <a:cubicBezTo>
                  <a:pt x="5" y="10"/>
                  <a:pt x="4" y="10"/>
                  <a:pt x="3" y="10"/>
                </a:cubicBezTo>
                <a:cubicBezTo>
                  <a:pt x="2" y="9"/>
                  <a:pt x="0" y="8"/>
                  <a:pt x="1" y="8"/>
                </a:cubicBezTo>
                <a:cubicBezTo>
                  <a:pt x="1" y="7"/>
                  <a:pt x="2" y="6"/>
                  <a:pt x="3" y="5"/>
                </a:cubicBezTo>
                <a:cubicBezTo>
                  <a:pt x="4" y="5"/>
                  <a:pt x="6" y="5"/>
                  <a:pt x="7" y="5"/>
                </a:cubicBezTo>
                <a:cubicBezTo>
                  <a:pt x="29" y="4"/>
                  <a:pt x="51" y="4"/>
                  <a:pt x="73" y="3"/>
                </a:cubicBezTo>
                <a:cubicBezTo>
                  <a:pt x="90" y="2"/>
                  <a:pt x="106" y="1"/>
                  <a:pt x="122" y="1"/>
                </a:cubicBezTo>
                <a:cubicBezTo>
                  <a:pt x="163" y="1"/>
                  <a:pt x="203" y="0"/>
                  <a:pt x="244" y="0"/>
                </a:cubicBezTo>
                <a:cubicBezTo>
                  <a:pt x="283" y="0"/>
                  <a:pt x="321" y="1"/>
                  <a:pt x="359" y="1"/>
                </a:cubicBezTo>
                <a:cubicBezTo>
                  <a:pt x="399" y="2"/>
                  <a:pt x="438" y="3"/>
                  <a:pt x="477" y="4"/>
                </a:cubicBezTo>
                <a:cubicBezTo>
                  <a:pt x="507" y="4"/>
                  <a:pt x="536" y="5"/>
                  <a:pt x="566" y="4"/>
                </a:cubicBezTo>
                <a:cubicBezTo>
                  <a:pt x="600" y="4"/>
                  <a:pt x="634" y="3"/>
                  <a:pt x="668" y="3"/>
                </a:cubicBezTo>
                <a:cubicBezTo>
                  <a:pt x="687" y="2"/>
                  <a:pt x="706" y="1"/>
                  <a:pt x="726" y="0"/>
                </a:cubicBezTo>
                <a:cubicBezTo>
                  <a:pt x="730" y="0"/>
                  <a:pt x="734" y="1"/>
                  <a:pt x="738" y="1"/>
                </a:cubicBezTo>
                <a:cubicBezTo>
                  <a:pt x="738" y="1"/>
                  <a:pt x="738" y="2"/>
                  <a:pt x="738" y="3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3F8FE76-14F2-40AE-B779-AFA11CCBD9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7880" y="6462133"/>
            <a:ext cx="170508" cy="173353"/>
          </a:xfrm>
          <a:prstGeom prst="rect">
            <a:avLst/>
          </a:prstGeom>
        </p:spPr>
      </p:pic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05907" y="6356351"/>
            <a:ext cx="2742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/>
                </a:solidFill>
              </a:defRPr>
            </a:lvl1pPr>
          </a:lstStyle>
          <a:p>
            <a:fld id="{CC4301F5-AF5F-4858-A05F-AF733E15DAB2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015056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oni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1490663" y="1881191"/>
            <a:ext cx="4845050" cy="2733675"/>
          </a:xfrm>
          <a:custGeom>
            <a:avLst/>
            <a:gdLst>
              <a:gd name="connsiteX0" fmla="*/ 0 w 4845050"/>
              <a:gd name="connsiteY0" fmla="*/ 0 h 2733675"/>
              <a:gd name="connsiteX1" fmla="*/ 4845050 w 4845050"/>
              <a:gd name="connsiteY1" fmla="*/ 0 h 2733675"/>
              <a:gd name="connsiteX2" fmla="*/ 4845050 w 4845050"/>
              <a:gd name="connsiteY2" fmla="*/ 2733675 h 2733675"/>
              <a:gd name="connsiteX3" fmla="*/ 0 w 4845050"/>
              <a:gd name="connsiteY3" fmla="*/ 2733675 h 2733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45050" h="2733675">
                <a:moveTo>
                  <a:pt x="0" y="0"/>
                </a:moveTo>
                <a:lnTo>
                  <a:pt x="4845050" y="0"/>
                </a:lnTo>
                <a:lnTo>
                  <a:pt x="4845050" y="2733675"/>
                </a:lnTo>
                <a:lnTo>
                  <a:pt x="0" y="2733675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ru-RU" dirty="0"/>
          </a:p>
        </p:txBody>
      </p:sp>
      <p:pic>
        <p:nvPicPr>
          <p:cNvPr id="3" name="Picture 2" descr="Content Slide 1 Black Bracket.png">
            <a:extLst>
              <a:ext uri="{FF2B5EF4-FFF2-40B4-BE49-F238E27FC236}">
                <a16:creationId xmlns:a16="http://schemas.microsoft.com/office/drawing/2014/main" id="{9A1AE2A0-EF79-4E8B-B83B-2131D552E3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1437" y="359261"/>
            <a:ext cx="268355" cy="784225"/>
          </a:xfrm>
          <a:prstGeom prst="rect">
            <a:avLst/>
          </a:prstGeom>
        </p:spPr>
      </p:pic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0A8AE5D8-4278-426C-B2D0-4E0AC3A69E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4392" y="274321"/>
            <a:ext cx="8050722" cy="954107"/>
          </a:xfrm>
        </p:spPr>
        <p:txBody>
          <a:bodyPr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5600" kern="1200" cap="all" baseline="0" dirty="0" smtClean="0">
                <a:solidFill>
                  <a:srgbClr val="C2032D"/>
                </a:solidFill>
                <a:latin typeface="Barlow Condensed ExtraBold"/>
                <a:ea typeface="+mn-ea"/>
                <a:cs typeface="Barlow Condensed ExtraBold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600" b="0" i="0" u="none" strike="noStrike" kern="1200" cap="all" spc="0" normalizeH="0" baseline="0" noProof="0" dirty="0">
                <a:ln>
                  <a:noFill/>
                </a:ln>
                <a:solidFill>
                  <a:srgbClr val="C2032D"/>
                </a:solidFill>
                <a:effectLst/>
                <a:uLnTx/>
                <a:uFillTx/>
                <a:latin typeface="Barlow Condensed ExtraBold"/>
                <a:ea typeface="+mn-ea"/>
                <a:cs typeface="Barlow Condensed ExtraBold"/>
              </a:rPr>
              <a:t>SLIDE TIT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0E45758-AF42-4158-BD32-ECA87D3892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7880" y="6462133"/>
            <a:ext cx="170508" cy="173353"/>
          </a:xfrm>
          <a:prstGeom prst="rect">
            <a:avLst/>
          </a:prstGeom>
        </p:spPr>
      </p:pic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05907" y="6356351"/>
            <a:ext cx="2742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/>
                </a:solidFill>
              </a:defRPr>
            </a:lvl1pPr>
          </a:lstStyle>
          <a:p>
            <a:fld id="{CC4301F5-AF5F-4858-A05F-AF733E15DAB2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641257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Phone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7"/>
          <p:cNvSpPr>
            <a:spLocks noGrp="1"/>
          </p:cNvSpPr>
          <p:nvPr>
            <p:ph type="pic" sz="quarter" idx="10"/>
          </p:nvPr>
        </p:nvSpPr>
        <p:spPr>
          <a:xfrm>
            <a:off x="7765510" y="1340169"/>
            <a:ext cx="2168223" cy="4703763"/>
          </a:xfrm>
          <a:custGeom>
            <a:avLst/>
            <a:gdLst>
              <a:gd name="connsiteX0" fmla="*/ 182633 w 1639888"/>
              <a:gd name="connsiteY0" fmla="*/ 0 h 3557588"/>
              <a:gd name="connsiteX1" fmla="*/ 331022 w 1639888"/>
              <a:gd name="connsiteY1" fmla="*/ 0 h 3557588"/>
              <a:gd name="connsiteX2" fmla="*/ 365265 w 1639888"/>
              <a:gd name="connsiteY2" fmla="*/ 34281 h 3557588"/>
              <a:gd name="connsiteX3" fmla="*/ 365265 w 1639888"/>
              <a:gd name="connsiteY3" fmla="*/ 38090 h 3557588"/>
              <a:gd name="connsiteX4" fmla="*/ 460386 w 1639888"/>
              <a:gd name="connsiteY4" fmla="*/ 133314 h 3557588"/>
              <a:gd name="connsiteX5" fmla="*/ 1183307 w 1639888"/>
              <a:gd name="connsiteY5" fmla="*/ 133314 h 3557588"/>
              <a:gd name="connsiteX6" fmla="*/ 1278428 w 1639888"/>
              <a:gd name="connsiteY6" fmla="*/ 38090 h 3557588"/>
              <a:gd name="connsiteX7" fmla="*/ 1278428 w 1639888"/>
              <a:gd name="connsiteY7" fmla="*/ 34281 h 3557588"/>
              <a:gd name="connsiteX8" fmla="*/ 1308867 w 1639888"/>
              <a:gd name="connsiteY8" fmla="*/ 0 h 3557588"/>
              <a:gd name="connsiteX9" fmla="*/ 1461060 w 1639888"/>
              <a:gd name="connsiteY9" fmla="*/ 0 h 3557588"/>
              <a:gd name="connsiteX10" fmla="*/ 1639888 w 1639888"/>
              <a:gd name="connsiteY10" fmla="*/ 182831 h 3557588"/>
              <a:gd name="connsiteX11" fmla="*/ 1639888 w 1639888"/>
              <a:gd name="connsiteY11" fmla="*/ 3378566 h 3557588"/>
              <a:gd name="connsiteX12" fmla="*/ 1461060 w 1639888"/>
              <a:gd name="connsiteY12" fmla="*/ 3557588 h 3557588"/>
              <a:gd name="connsiteX13" fmla="*/ 182633 w 1639888"/>
              <a:gd name="connsiteY13" fmla="*/ 3557588 h 3557588"/>
              <a:gd name="connsiteX14" fmla="*/ 0 w 1639888"/>
              <a:gd name="connsiteY14" fmla="*/ 3378566 h 3557588"/>
              <a:gd name="connsiteX15" fmla="*/ 0 w 1639888"/>
              <a:gd name="connsiteY15" fmla="*/ 182831 h 3557588"/>
              <a:gd name="connsiteX16" fmla="*/ 182633 w 1639888"/>
              <a:gd name="connsiteY16" fmla="*/ 0 h 355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639888" h="3557588">
                <a:moveTo>
                  <a:pt x="182633" y="0"/>
                </a:moveTo>
                <a:cubicBezTo>
                  <a:pt x="182633" y="0"/>
                  <a:pt x="182633" y="0"/>
                  <a:pt x="331022" y="0"/>
                </a:cubicBezTo>
                <a:cubicBezTo>
                  <a:pt x="350046" y="0"/>
                  <a:pt x="365265" y="15236"/>
                  <a:pt x="365265" y="34281"/>
                </a:cubicBezTo>
                <a:cubicBezTo>
                  <a:pt x="365265" y="34281"/>
                  <a:pt x="365265" y="34281"/>
                  <a:pt x="365265" y="38090"/>
                </a:cubicBezTo>
                <a:cubicBezTo>
                  <a:pt x="365265" y="87607"/>
                  <a:pt x="407119" y="133314"/>
                  <a:pt x="460386" y="133314"/>
                </a:cubicBezTo>
                <a:cubicBezTo>
                  <a:pt x="460386" y="133314"/>
                  <a:pt x="460386" y="133314"/>
                  <a:pt x="1183307" y="133314"/>
                </a:cubicBezTo>
                <a:cubicBezTo>
                  <a:pt x="1236575" y="133314"/>
                  <a:pt x="1278428" y="87607"/>
                  <a:pt x="1278428" y="38090"/>
                </a:cubicBezTo>
                <a:cubicBezTo>
                  <a:pt x="1278428" y="38090"/>
                  <a:pt x="1278428" y="38090"/>
                  <a:pt x="1278428" y="34281"/>
                </a:cubicBezTo>
                <a:cubicBezTo>
                  <a:pt x="1278428" y="15236"/>
                  <a:pt x="1293647" y="0"/>
                  <a:pt x="1308867" y="0"/>
                </a:cubicBezTo>
                <a:cubicBezTo>
                  <a:pt x="1308867" y="0"/>
                  <a:pt x="1308867" y="0"/>
                  <a:pt x="1461060" y="0"/>
                </a:cubicBezTo>
                <a:cubicBezTo>
                  <a:pt x="1559986" y="0"/>
                  <a:pt x="1639888" y="79989"/>
                  <a:pt x="1639888" y="182831"/>
                </a:cubicBezTo>
                <a:cubicBezTo>
                  <a:pt x="1639888" y="182831"/>
                  <a:pt x="1639888" y="182831"/>
                  <a:pt x="1639888" y="3378566"/>
                </a:cubicBezTo>
                <a:cubicBezTo>
                  <a:pt x="1639888" y="3477600"/>
                  <a:pt x="1559986" y="3557588"/>
                  <a:pt x="1461060" y="3557588"/>
                </a:cubicBezTo>
                <a:cubicBezTo>
                  <a:pt x="1461060" y="3557588"/>
                  <a:pt x="1461060" y="3557588"/>
                  <a:pt x="182633" y="3557588"/>
                </a:cubicBezTo>
                <a:cubicBezTo>
                  <a:pt x="83707" y="3557588"/>
                  <a:pt x="0" y="3477600"/>
                  <a:pt x="0" y="3378566"/>
                </a:cubicBezTo>
                <a:cubicBezTo>
                  <a:pt x="0" y="3378566"/>
                  <a:pt x="0" y="3378566"/>
                  <a:pt x="0" y="182831"/>
                </a:cubicBezTo>
                <a:cubicBezTo>
                  <a:pt x="0" y="79989"/>
                  <a:pt x="83707" y="0"/>
                  <a:pt x="182633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fr-FR"/>
              <a:t>Cliquez sur l'icône pour ajouter une image</a:t>
            </a:r>
            <a:endParaRPr lang="ru-RU"/>
          </a:p>
        </p:txBody>
      </p:sp>
      <p:pic>
        <p:nvPicPr>
          <p:cNvPr id="4" name="Picture 3" descr="Content Slide 1 Black Bracket.png">
            <a:extLst>
              <a:ext uri="{FF2B5EF4-FFF2-40B4-BE49-F238E27FC236}">
                <a16:creationId xmlns:a16="http://schemas.microsoft.com/office/drawing/2014/main" id="{A5B61D69-905C-464E-BEBD-39C51A68C4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1437" y="359261"/>
            <a:ext cx="268355" cy="784225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258BDCC-355B-487C-A74A-77122CA4C1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4392" y="274321"/>
            <a:ext cx="8050722" cy="954107"/>
          </a:xfrm>
        </p:spPr>
        <p:txBody>
          <a:bodyPr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5600" kern="1200" cap="all" baseline="0" dirty="0" smtClean="0">
                <a:solidFill>
                  <a:srgbClr val="C2032D"/>
                </a:solidFill>
                <a:latin typeface="Barlow Condensed ExtraBold"/>
                <a:ea typeface="+mn-ea"/>
                <a:cs typeface="Barlow Condensed ExtraBold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600" b="0" i="0" u="none" strike="noStrike" kern="1200" cap="all" spc="0" normalizeH="0" baseline="0" noProof="0" dirty="0">
                <a:ln>
                  <a:noFill/>
                </a:ln>
                <a:solidFill>
                  <a:srgbClr val="C2032D"/>
                </a:solidFill>
                <a:effectLst/>
                <a:uLnTx/>
                <a:uFillTx/>
                <a:latin typeface="Barlow Condensed ExtraBold"/>
                <a:ea typeface="+mn-ea"/>
                <a:cs typeface="Barlow Condensed ExtraBold"/>
              </a:rPr>
              <a:t>SLIDE 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0A7FF1D-8EA4-4315-8202-EC961DD04E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7880" y="6462133"/>
            <a:ext cx="170508" cy="173353"/>
          </a:xfrm>
          <a:prstGeom prst="rect">
            <a:avLst/>
          </a:prstGeom>
        </p:spPr>
      </p:pic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05907" y="6356351"/>
            <a:ext cx="2742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/>
                </a:solidFill>
              </a:defRPr>
            </a:lvl1pPr>
          </a:lstStyle>
          <a:p>
            <a:fld id="{CC4301F5-AF5F-4858-A05F-AF733E15DAB2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283543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Mac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Mac placeholder"/>
          <p:cNvSpPr>
            <a:spLocks noGrp="1"/>
          </p:cNvSpPr>
          <p:nvPr>
            <p:ph type="pic" sz="quarter" idx="10"/>
          </p:nvPr>
        </p:nvSpPr>
        <p:spPr>
          <a:xfrm>
            <a:off x="1059181" y="1798320"/>
            <a:ext cx="5196840" cy="2918460"/>
          </a:xfrm>
          <a:custGeom>
            <a:avLst/>
            <a:gdLst>
              <a:gd name="connsiteX0" fmla="*/ 0 w 5196840"/>
              <a:gd name="connsiteY0" fmla="*/ 0 h 2918460"/>
              <a:gd name="connsiteX1" fmla="*/ 5196840 w 5196840"/>
              <a:gd name="connsiteY1" fmla="*/ 0 h 2918460"/>
              <a:gd name="connsiteX2" fmla="*/ 5196840 w 5196840"/>
              <a:gd name="connsiteY2" fmla="*/ 2918460 h 2918460"/>
              <a:gd name="connsiteX3" fmla="*/ 0 w 5196840"/>
              <a:gd name="connsiteY3" fmla="*/ 2918460 h 2918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96840" h="2918460">
                <a:moveTo>
                  <a:pt x="0" y="0"/>
                </a:moveTo>
                <a:lnTo>
                  <a:pt x="5196840" y="0"/>
                </a:lnTo>
                <a:lnTo>
                  <a:pt x="5196840" y="2918460"/>
                </a:lnTo>
                <a:lnTo>
                  <a:pt x="0" y="291846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fr-FR"/>
              <a:t>Cliquez sur l'icône pour ajouter une image</a:t>
            </a:r>
            <a:endParaRPr lang="ru-RU"/>
          </a:p>
        </p:txBody>
      </p:sp>
      <p:pic>
        <p:nvPicPr>
          <p:cNvPr id="3" name="Picture 2" descr="Content Slide 1 Black Bracket.png">
            <a:extLst>
              <a:ext uri="{FF2B5EF4-FFF2-40B4-BE49-F238E27FC236}">
                <a16:creationId xmlns:a16="http://schemas.microsoft.com/office/drawing/2014/main" id="{9AF8FCB8-02B0-43DE-9394-C6435BD748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1437" y="359261"/>
            <a:ext cx="268355" cy="784225"/>
          </a:xfrm>
          <a:prstGeom prst="rect">
            <a:avLst/>
          </a:prstGeom>
        </p:spPr>
      </p:pic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0022307D-F4AC-4982-AF78-78E69B1F0CE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4392" y="274321"/>
            <a:ext cx="8050722" cy="954107"/>
          </a:xfrm>
        </p:spPr>
        <p:txBody>
          <a:bodyPr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5600" kern="1200" cap="all" baseline="0" dirty="0" smtClean="0">
                <a:solidFill>
                  <a:srgbClr val="C2032D"/>
                </a:solidFill>
                <a:latin typeface="Barlow Condensed ExtraBold"/>
                <a:ea typeface="+mn-ea"/>
                <a:cs typeface="Barlow Condensed ExtraBold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600" b="0" i="0" u="none" strike="noStrike" kern="1200" cap="all" spc="0" normalizeH="0" baseline="0" noProof="0" dirty="0">
                <a:ln>
                  <a:noFill/>
                </a:ln>
                <a:solidFill>
                  <a:srgbClr val="C2032D"/>
                </a:solidFill>
                <a:effectLst/>
                <a:uLnTx/>
                <a:uFillTx/>
                <a:latin typeface="Barlow Condensed ExtraBold"/>
                <a:ea typeface="+mn-ea"/>
                <a:cs typeface="Barlow Condensed ExtraBold"/>
              </a:rPr>
              <a:t>SLIDE 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F93A1A7-842A-4FC7-BDD5-5E49DC8643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7880" y="6462133"/>
            <a:ext cx="170508" cy="173353"/>
          </a:xfrm>
          <a:prstGeom prst="rect">
            <a:avLst/>
          </a:prstGeom>
        </p:spPr>
      </p:pic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05907" y="6356351"/>
            <a:ext cx="2742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/>
                </a:solidFill>
              </a:defRPr>
            </a:lvl1pPr>
          </a:lstStyle>
          <a:p>
            <a:fld id="{CC4301F5-AF5F-4858-A05F-AF733E15DAB2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427117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acbook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cbook placeholder"/>
          <p:cNvSpPr>
            <a:spLocks noGrp="1"/>
          </p:cNvSpPr>
          <p:nvPr>
            <p:ph type="pic" sz="quarter" idx="10"/>
          </p:nvPr>
        </p:nvSpPr>
        <p:spPr>
          <a:xfrm>
            <a:off x="5471161" y="2103122"/>
            <a:ext cx="5143500" cy="3254895"/>
          </a:xfrm>
          <a:custGeom>
            <a:avLst/>
            <a:gdLst>
              <a:gd name="connsiteX0" fmla="*/ 0 w 5143500"/>
              <a:gd name="connsiteY0" fmla="*/ 0 h 3254895"/>
              <a:gd name="connsiteX1" fmla="*/ 5143500 w 5143500"/>
              <a:gd name="connsiteY1" fmla="*/ 0 h 3254895"/>
              <a:gd name="connsiteX2" fmla="*/ 5143500 w 5143500"/>
              <a:gd name="connsiteY2" fmla="*/ 3254895 h 3254895"/>
              <a:gd name="connsiteX3" fmla="*/ 0 w 5143500"/>
              <a:gd name="connsiteY3" fmla="*/ 3254895 h 3254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43500" h="3254895">
                <a:moveTo>
                  <a:pt x="0" y="0"/>
                </a:moveTo>
                <a:lnTo>
                  <a:pt x="5143500" y="0"/>
                </a:lnTo>
                <a:lnTo>
                  <a:pt x="5143500" y="3254895"/>
                </a:lnTo>
                <a:lnTo>
                  <a:pt x="0" y="3254895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fr-FR"/>
              <a:t>Cliquez sur l'icône pour ajouter une image</a:t>
            </a:r>
            <a:endParaRPr lang="ru-RU"/>
          </a:p>
        </p:txBody>
      </p:sp>
      <p:pic>
        <p:nvPicPr>
          <p:cNvPr id="3" name="Picture 2" descr="Content Slide 1 Black Bracket.png">
            <a:extLst>
              <a:ext uri="{FF2B5EF4-FFF2-40B4-BE49-F238E27FC236}">
                <a16:creationId xmlns:a16="http://schemas.microsoft.com/office/drawing/2014/main" id="{F9A9BBE2-F7FA-49F3-A79F-89B2185A0D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1437" y="359261"/>
            <a:ext cx="268355" cy="784225"/>
          </a:xfrm>
          <a:prstGeom prst="rect">
            <a:avLst/>
          </a:prstGeom>
        </p:spPr>
      </p:pic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BA1B54BE-E61A-478D-878F-9515F4C9563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4392" y="274321"/>
            <a:ext cx="8050722" cy="954107"/>
          </a:xfrm>
        </p:spPr>
        <p:txBody>
          <a:bodyPr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5600" kern="1200" cap="all" baseline="0" dirty="0" smtClean="0">
                <a:solidFill>
                  <a:srgbClr val="C2032D"/>
                </a:solidFill>
                <a:latin typeface="Barlow Condensed ExtraBold"/>
                <a:ea typeface="+mn-ea"/>
                <a:cs typeface="Barlow Condensed ExtraBold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600" b="0" i="0" u="none" strike="noStrike" kern="1200" cap="all" spc="0" normalizeH="0" baseline="0" noProof="0" dirty="0">
                <a:ln>
                  <a:noFill/>
                </a:ln>
                <a:solidFill>
                  <a:srgbClr val="C2032D"/>
                </a:solidFill>
                <a:effectLst/>
                <a:uLnTx/>
                <a:uFillTx/>
                <a:latin typeface="Barlow Condensed ExtraBold"/>
                <a:ea typeface="+mn-ea"/>
                <a:cs typeface="Barlow Condensed ExtraBold"/>
              </a:rPr>
              <a:t>SLIDE 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C7FE69-4569-422A-B095-8E37CA8E42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7880" y="6462133"/>
            <a:ext cx="170508" cy="173353"/>
          </a:xfrm>
          <a:prstGeom prst="rect">
            <a:avLst/>
          </a:prstGeom>
        </p:spPr>
      </p:pic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05907" y="6356351"/>
            <a:ext cx="2742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/>
                </a:solidFill>
              </a:defRPr>
            </a:lvl1pPr>
          </a:lstStyle>
          <a:p>
            <a:fld id="{CC4301F5-AF5F-4858-A05F-AF733E15DAB2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02790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sometric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7"/>
          <p:cNvSpPr>
            <a:spLocks noGrp="1"/>
          </p:cNvSpPr>
          <p:nvPr>
            <p:ph type="pic" sz="quarter" idx="10"/>
          </p:nvPr>
        </p:nvSpPr>
        <p:spPr>
          <a:xfrm>
            <a:off x="6714992" y="1200184"/>
            <a:ext cx="2682754" cy="5340597"/>
          </a:xfrm>
          <a:custGeom>
            <a:avLst/>
            <a:gdLst>
              <a:gd name="connsiteX0" fmla="*/ 182633 w 1639888"/>
              <a:gd name="connsiteY0" fmla="*/ 0 h 3557588"/>
              <a:gd name="connsiteX1" fmla="*/ 331022 w 1639888"/>
              <a:gd name="connsiteY1" fmla="*/ 0 h 3557588"/>
              <a:gd name="connsiteX2" fmla="*/ 365265 w 1639888"/>
              <a:gd name="connsiteY2" fmla="*/ 34281 h 3557588"/>
              <a:gd name="connsiteX3" fmla="*/ 365265 w 1639888"/>
              <a:gd name="connsiteY3" fmla="*/ 38090 h 3557588"/>
              <a:gd name="connsiteX4" fmla="*/ 460386 w 1639888"/>
              <a:gd name="connsiteY4" fmla="*/ 133314 h 3557588"/>
              <a:gd name="connsiteX5" fmla="*/ 1183307 w 1639888"/>
              <a:gd name="connsiteY5" fmla="*/ 133314 h 3557588"/>
              <a:gd name="connsiteX6" fmla="*/ 1278428 w 1639888"/>
              <a:gd name="connsiteY6" fmla="*/ 38090 h 3557588"/>
              <a:gd name="connsiteX7" fmla="*/ 1278428 w 1639888"/>
              <a:gd name="connsiteY7" fmla="*/ 34281 h 3557588"/>
              <a:gd name="connsiteX8" fmla="*/ 1308867 w 1639888"/>
              <a:gd name="connsiteY8" fmla="*/ 0 h 3557588"/>
              <a:gd name="connsiteX9" fmla="*/ 1461060 w 1639888"/>
              <a:gd name="connsiteY9" fmla="*/ 0 h 3557588"/>
              <a:gd name="connsiteX10" fmla="*/ 1639888 w 1639888"/>
              <a:gd name="connsiteY10" fmla="*/ 182831 h 3557588"/>
              <a:gd name="connsiteX11" fmla="*/ 1639888 w 1639888"/>
              <a:gd name="connsiteY11" fmla="*/ 3378566 h 3557588"/>
              <a:gd name="connsiteX12" fmla="*/ 1461060 w 1639888"/>
              <a:gd name="connsiteY12" fmla="*/ 3557588 h 3557588"/>
              <a:gd name="connsiteX13" fmla="*/ 182633 w 1639888"/>
              <a:gd name="connsiteY13" fmla="*/ 3557588 h 3557588"/>
              <a:gd name="connsiteX14" fmla="*/ 0 w 1639888"/>
              <a:gd name="connsiteY14" fmla="*/ 3378566 h 3557588"/>
              <a:gd name="connsiteX15" fmla="*/ 0 w 1639888"/>
              <a:gd name="connsiteY15" fmla="*/ 182831 h 3557588"/>
              <a:gd name="connsiteX16" fmla="*/ 182633 w 1639888"/>
              <a:gd name="connsiteY16" fmla="*/ 0 h 355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639888" h="3557588">
                <a:moveTo>
                  <a:pt x="182633" y="0"/>
                </a:moveTo>
                <a:cubicBezTo>
                  <a:pt x="182633" y="0"/>
                  <a:pt x="182633" y="0"/>
                  <a:pt x="331022" y="0"/>
                </a:cubicBezTo>
                <a:cubicBezTo>
                  <a:pt x="350046" y="0"/>
                  <a:pt x="365265" y="15236"/>
                  <a:pt x="365265" y="34281"/>
                </a:cubicBezTo>
                <a:cubicBezTo>
                  <a:pt x="365265" y="34281"/>
                  <a:pt x="365265" y="34281"/>
                  <a:pt x="365265" y="38090"/>
                </a:cubicBezTo>
                <a:cubicBezTo>
                  <a:pt x="365265" y="87607"/>
                  <a:pt x="407119" y="133314"/>
                  <a:pt x="460386" y="133314"/>
                </a:cubicBezTo>
                <a:cubicBezTo>
                  <a:pt x="460386" y="133314"/>
                  <a:pt x="460386" y="133314"/>
                  <a:pt x="1183307" y="133314"/>
                </a:cubicBezTo>
                <a:cubicBezTo>
                  <a:pt x="1236575" y="133314"/>
                  <a:pt x="1278428" y="87607"/>
                  <a:pt x="1278428" y="38090"/>
                </a:cubicBezTo>
                <a:cubicBezTo>
                  <a:pt x="1278428" y="38090"/>
                  <a:pt x="1278428" y="38090"/>
                  <a:pt x="1278428" y="34281"/>
                </a:cubicBezTo>
                <a:cubicBezTo>
                  <a:pt x="1278428" y="15236"/>
                  <a:pt x="1293647" y="0"/>
                  <a:pt x="1308867" y="0"/>
                </a:cubicBezTo>
                <a:cubicBezTo>
                  <a:pt x="1308867" y="0"/>
                  <a:pt x="1308867" y="0"/>
                  <a:pt x="1461060" y="0"/>
                </a:cubicBezTo>
                <a:cubicBezTo>
                  <a:pt x="1559986" y="0"/>
                  <a:pt x="1639888" y="79989"/>
                  <a:pt x="1639888" y="182831"/>
                </a:cubicBezTo>
                <a:cubicBezTo>
                  <a:pt x="1639888" y="182831"/>
                  <a:pt x="1639888" y="182831"/>
                  <a:pt x="1639888" y="3378566"/>
                </a:cubicBezTo>
                <a:cubicBezTo>
                  <a:pt x="1639888" y="3477600"/>
                  <a:pt x="1559986" y="3557588"/>
                  <a:pt x="1461060" y="3557588"/>
                </a:cubicBezTo>
                <a:cubicBezTo>
                  <a:pt x="1461060" y="3557588"/>
                  <a:pt x="1461060" y="3557588"/>
                  <a:pt x="182633" y="3557588"/>
                </a:cubicBezTo>
                <a:cubicBezTo>
                  <a:pt x="83707" y="3557588"/>
                  <a:pt x="0" y="3477600"/>
                  <a:pt x="0" y="3378566"/>
                </a:cubicBezTo>
                <a:cubicBezTo>
                  <a:pt x="0" y="3378566"/>
                  <a:pt x="0" y="3378566"/>
                  <a:pt x="0" y="182831"/>
                </a:cubicBezTo>
                <a:cubicBezTo>
                  <a:pt x="0" y="79989"/>
                  <a:pt x="83707" y="0"/>
                  <a:pt x="182633" y="0"/>
                </a:cubicBezTo>
                <a:close/>
              </a:path>
            </a:pathLst>
          </a:custGeom>
          <a:solidFill>
            <a:schemeClr val="tx1">
              <a:alpha val="33000"/>
            </a:schemeClr>
          </a:solidFill>
          <a:scene3d>
            <a:camera prst="orthographicFront">
              <a:rot lat="19500000" lon="2700000" rev="18000000"/>
            </a:camera>
            <a:lightRig rig="threePt" dir="t"/>
          </a:scene3d>
        </p:spPr>
        <p:txBody>
          <a:bodyPr wrap="square">
            <a:noAutofit/>
          </a:bodyPr>
          <a:lstStyle/>
          <a:p>
            <a:r>
              <a:rPr lang="fr-FR"/>
              <a:t>Cliquez sur l'icône pour ajouter une image</a:t>
            </a:r>
            <a:endParaRPr lang="ru-RU"/>
          </a:p>
        </p:txBody>
      </p:sp>
      <p:pic>
        <p:nvPicPr>
          <p:cNvPr id="4" name="Picture 3" descr="Content Slide 1 Black Bracket.png">
            <a:extLst>
              <a:ext uri="{FF2B5EF4-FFF2-40B4-BE49-F238E27FC236}">
                <a16:creationId xmlns:a16="http://schemas.microsoft.com/office/drawing/2014/main" id="{1499291B-A225-474E-9DB6-08884BDED96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1437" y="359261"/>
            <a:ext cx="268355" cy="784225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3402C1E-9201-41F7-A971-E7F7BF02A0F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4392" y="274321"/>
            <a:ext cx="8050722" cy="954107"/>
          </a:xfrm>
        </p:spPr>
        <p:txBody>
          <a:bodyPr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5600" kern="1200" cap="all" baseline="0" dirty="0" smtClean="0">
                <a:solidFill>
                  <a:srgbClr val="C2032D"/>
                </a:solidFill>
                <a:latin typeface="Barlow Condensed ExtraBold"/>
                <a:ea typeface="+mn-ea"/>
                <a:cs typeface="Barlow Condensed ExtraBold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600" b="0" i="0" u="none" strike="noStrike" kern="1200" cap="all" spc="0" normalizeH="0" baseline="0" noProof="0" dirty="0">
                <a:ln>
                  <a:noFill/>
                </a:ln>
                <a:solidFill>
                  <a:srgbClr val="C2032D"/>
                </a:solidFill>
                <a:effectLst/>
                <a:uLnTx/>
                <a:uFillTx/>
                <a:latin typeface="Barlow Condensed ExtraBold"/>
                <a:ea typeface="+mn-ea"/>
                <a:cs typeface="Barlow Condensed ExtraBold"/>
              </a:rPr>
              <a:t>SLIDE 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3A3243D-52D9-4CCA-BDEE-B3EF7DED8F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7880" y="6462133"/>
            <a:ext cx="170508" cy="173353"/>
          </a:xfrm>
          <a:prstGeom prst="rect">
            <a:avLst/>
          </a:prstGeom>
        </p:spPr>
      </p:pic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05907" y="6356351"/>
            <a:ext cx="2742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/>
                </a:solidFill>
              </a:defRPr>
            </a:lvl1pPr>
          </a:lstStyle>
          <a:p>
            <a:fld id="{CC4301F5-AF5F-4858-A05F-AF733E15DAB2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352131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18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2.xml"/><Relationship Id="rId10" Type="http://schemas.openxmlformats.org/officeDocument/2006/relationships/image" Target="../media/image4.emf"/><Relationship Id="rId4" Type="http://schemas.openxmlformats.org/officeDocument/2006/relationships/slideLayout" Target="../slideLayouts/slideLayout19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05907" y="6356351"/>
            <a:ext cx="2742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/>
                </a:solidFill>
              </a:defRPr>
            </a:lvl1pPr>
          </a:lstStyle>
          <a:p>
            <a:fld id="{CC4301F5-AF5F-4858-A05F-AF733E15DAB2}" type="slidenum">
              <a:rPr lang="fr-FR" smtClean="0"/>
              <a:t>‹#›</a:t>
            </a:fld>
            <a:endParaRPr lang="fr-FR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7DF5F00-5D1E-46DC-A579-794D7D188D5C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97880" y="6462133"/>
            <a:ext cx="170508" cy="173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3464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4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  <p:sldLayoutId id="2147483678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1">
          <a:gsLst>
            <a:gs pos="0">
              <a:schemeClr val="tx1"/>
            </a:gs>
            <a:gs pos="100000">
              <a:schemeClr val="tx1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902" y="1125"/>
          <a:ext cx="2898" cy="11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9" imgW="442" imgH="440" progId="TCLayout.ActiveDocument.1">
                  <p:embed/>
                </p:oleObj>
              </mc:Choice>
              <mc:Fallback>
                <p:oleObj name="think-cell Slide" r:id="rId9" imgW="442" imgH="44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902" y="1125"/>
                        <a:ext cx="2898" cy="11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8"/>
            </p:custDataLst>
          </p:nvPr>
        </p:nvSpPr>
        <p:spPr>
          <a:xfrm>
            <a:off x="1" y="0"/>
            <a:ext cx="282222" cy="10990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930896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</p:sldLayoutIdLst>
  <p:hf hdr="0" dt="0"/>
  <p:txStyles>
    <p:titleStyle>
      <a:lvl1pPr algn="l" defTabSz="633039" rtl="0" eaLnBrk="1" latinLnBrk="0" hangingPunct="1">
        <a:spcBef>
          <a:spcPct val="0"/>
        </a:spcBef>
        <a:buNone/>
        <a:defRPr sz="1800" b="1" kern="1200" baseline="0">
          <a:solidFill>
            <a:schemeClr val="bg1"/>
          </a:solidFill>
          <a:latin typeface="Calibri" charset="0"/>
          <a:ea typeface="Calibri" charset="0"/>
          <a:cs typeface="Calibri" charset="0"/>
        </a:defRPr>
      </a:lvl1pPr>
    </p:titleStyle>
    <p:bodyStyle>
      <a:lvl1pPr marL="0" indent="0" algn="l" defTabSz="619851" rtl="0" eaLnBrk="1" latinLnBrk="0" hangingPunct="1">
        <a:spcBef>
          <a:spcPts val="0"/>
        </a:spcBef>
        <a:buClr>
          <a:schemeClr val="bg1"/>
        </a:buClr>
        <a:buFont typeface="Arial" charset="0"/>
        <a:buNone/>
        <a:tabLst/>
        <a:defRPr lang="en-US" sz="1523" b="1" kern="1200" baseline="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126388" marR="0" indent="-126388" algn="l" defTabSz="619851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C4012D"/>
        </a:buClr>
        <a:buSzTx/>
        <a:buFont typeface="Arial" charset="0"/>
        <a:buChar char="•"/>
        <a:tabLst/>
        <a:defRPr kumimoji="0" lang="en-US" sz="1246" b="0" i="0" u="none" strike="noStrike" kern="1200" cap="none" spc="0" normalizeH="0" baseline="0" dirty="0" smtClean="0">
          <a:ln>
            <a:noFill/>
          </a:ln>
          <a:solidFill>
            <a:srgbClr val="615652"/>
          </a:solidFill>
          <a:effectLst/>
          <a:uLnTx/>
          <a:uFillTx/>
          <a:latin typeface="Calibri"/>
          <a:ea typeface=""/>
          <a:cs typeface=""/>
        </a:defRPr>
      </a:lvl2pPr>
      <a:lvl3pPr marL="252776" marR="0" indent="-118695" algn="l" defTabSz="619851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C4012D"/>
        </a:buClr>
        <a:buSzTx/>
        <a:buFont typeface="Arial" charset="0"/>
        <a:buChar char="•"/>
        <a:tabLst/>
        <a:defRPr kumimoji="0" lang="en-US" sz="969" b="0" i="0" u="none" strike="noStrike" kern="1200" cap="none" spc="0" normalizeH="0" baseline="0" dirty="0" smtClean="0">
          <a:ln>
            <a:noFill/>
          </a:ln>
          <a:solidFill>
            <a:srgbClr val="615652"/>
          </a:solidFill>
          <a:effectLst/>
          <a:uLnTx/>
          <a:uFillTx/>
          <a:latin typeface="Calibri"/>
          <a:ea typeface=""/>
          <a:cs typeface=""/>
        </a:defRPr>
      </a:lvl3pPr>
      <a:lvl4pPr marL="372570" marR="0" indent="-119794" algn="l" defTabSz="619851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C4012D"/>
        </a:buClr>
        <a:buSzTx/>
        <a:buFont typeface="Arial" charset="0"/>
        <a:buChar char="•"/>
        <a:tabLst/>
        <a:defRPr kumimoji="0" lang="en-US" sz="969" b="0" i="0" u="none" strike="noStrike" kern="1200" cap="none" spc="0" normalizeH="0" baseline="0" dirty="0" smtClean="0">
          <a:ln>
            <a:noFill/>
          </a:ln>
          <a:solidFill>
            <a:srgbClr val="615652"/>
          </a:solidFill>
          <a:effectLst/>
          <a:uLnTx/>
          <a:uFillTx/>
          <a:latin typeface="Calibri"/>
          <a:ea typeface=""/>
          <a:cs typeface=""/>
        </a:defRPr>
      </a:lvl4pPr>
      <a:lvl5pPr marL="498958" marR="0" indent="-126388" algn="l" defTabSz="619851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C4012D"/>
        </a:buClr>
        <a:buSzTx/>
        <a:buFont typeface="Arial" charset="0"/>
        <a:buChar char="•"/>
        <a:tabLst/>
        <a:defRPr kumimoji="0" lang="en-US" sz="969" b="0" i="0" u="none" strike="noStrike" kern="1200" cap="none" spc="0" normalizeH="0" baseline="0" dirty="0" smtClean="0">
          <a:ln>
            <a:noFill/>
          </a:ln>
          <a:solidFill>
            <a:srgbClr val="615652"/>
          </a:solidFill>
          <a:effectLst/>
          <a:uLnTx/>
          <a:uFillTx/>
          <a:latin typeface="Calibri"/>
          <a:ea typeface=""/>
          <a:cs typeface=""/>
        </a:defRPr>
      </a:lvl5pPr>
      <a:lvl6pPr marL="1740858" indent="-158260" algn="l" defTabSz="633039" rtl="0" eaLnBrk="1" latinLnBrk="0" hangingPunct="1">
        <a:spcBef>
          <a:spcPct val="20000"/>
        </a:spcBef>
        <a:buFont typeface="Arial" pitchFamily="34" charset="0"/>
        <a:buChar char="•"/>
        <a:defRPr sz="1385" kern="1200">
          <a:solidFill>
            <a:schemeClr val="tx1"/>
          </a:solidFill>
          <a:latin typeface="+mn-lt"/>
          <a:ea typeface="+mn-ea"/>
          <a:cs typeface="+mn-cs"/>
        </a:defRPr>
      </a:lvl6pPr>
      <a:lvl7pPr marL="2057377" indent="-158260" algn="l" defTabSz="633039" rtl="0" eaLnBrk="1" latinLnBrk="0" hangingPunct="1">
        <a:spcBef>
          <a:spcPct val="20000"/>
        </a:spcBef>
        <a:buFont typeface="Arial" pitchFamily="34" charset="0"/>
        <a:buChar char="•"/>
        <a:defRPr sz="1385" kern="1200">
          <a:solidFill>
            <a:schemeClr val="tx1"/>
          </a:solidFill>
          <a:latin typeface="+mn-lt"/>
          <a:ea typeface="+mn-ea"/>
          <a:cs typeface="+mn-cs"/>
        </a:defRPr>
      </a:lvl7pPr>
      <a:lvl8pPr marL="2373897" indent="-158260" algn="l" defTabSz="633039" rtl="0" eaLnBrk="1" latinLnBrk="0" hangingPunct="1">
        <a:spcBef>
          <a:spcPct val="20000"/>
        </a:spcBef>
        <a:buFont typeface="Arial" pitchFamily="34" charset="0"/>
        <a:buChar char="•"/>
        <a:defRPr sz="1385" kern="1200">
          <a:solidFill>
            <a:schemeClr val="tx1"/>
          </a:solidFill>
          <a:latin typeface="+mn-lt"/>
          <a:ea typeface="+mn-ea"/>
          <a:cs typeface="+mn-cs"/>
        </a:defRPr>
      </a:lvl8pPr>
      <a:lvl9pPr marL="275856" indent="-275856" algn="l" defTabSz="619851" rtl="0" eaLnBrk="1" latinLnBrk="0" hangingPunct="1">
        <a:spcBef>
          <a:spcPts val="0"/>
        </a:spcBef>
        <a:buClrTx/>
        <a:buFont typeface="Arial" charset="0"/>
        <a:buNone/>
        <a:defRPr lang="en-US" sz="969" kern="1200" baseline="0" dirty="0" smtClean="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33039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1pPr>
      <a:lvl2pPr marL="316520" algn="l" defTabSz="633039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2pPr>
      <a:lvl3pPr marL="633039" algn="l" defTabSz="633039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3pPr>
      <a:lvl4pPr marL="949559" algn="l" defTabSz="633039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4pPr>
      <a:lvl5pPr marL="1266078" algn="l" defTabSz="633039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5pPr>
      <a:lvl6pPr marL="1582598" algn="l" defTabSz="633039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6pPr>
      <a:lvl7pPr marL="1899117" algn="l" defTabSz="633039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7pPr>
      <a:lvl8pPr marL="2215637" algn="l" defTabSz="633039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8pPr>
      <a:lvl9pPr marL="2532156" algn="l" defTabSz="633039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2">
          <p15:clr>
            <a:srgbClr val="F26B43"/>
          </p15:clr>
        </p15:guide>
        <p15:guide id="2" pos="2159">
          <p15:clr>
            <a:srgbClr val="F26B43"/>
          </p15:clr>
        </p15:guide>
        <p15:guide id="3" orient="horz" pos="567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chart" Target="../charts/chart4.xml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3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texte, personne, portable, ordinateur&#10;&#10;Description générée automatiquement">
            <a:extLst>
              <a:ext uri="{FF2B5EF4-FFF2-40B4-BE49-F238E27FC236}">
                <a16:creationId xmlns:a16="http://schemas.microsoft.com/office/drawing/2014/main" id="{0FAE0FAD-D79B-4707-A508-79A02947147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980"/>
          <a:stretch/>
        </p:blipFill>
        <p:spPr>
          <a:xfrm>
            <a:off x="6615031" y="-1267690"/>
            <a:ext cx="6134614" cy="5175017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0" name="Picture 1" descr="Content Slide 2 Red Block.png">
            <a:extLst>
              <a:ext uri="{FF2B5EF4-FFF2-40B4-BE49-F238E27FC236}">
                <a16:creationId xmlns:a16="http://schemas.microsoft.com/office/drawing/2014/main" id="{D03D4C6F-F204-4307-A22E-9225C7EE0B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-72735"/>
            <a:ext cx="8073736" cy="1548244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EB5E5246-FA6B-4060-9133-E3B4057D8EF4}"/>
              </a:ext>
            </a:extLst>
          </p:cNvPr>
          <p:cNvSpPr txBox="1"/>
          <p:nvPr/>
        </p:nvSpPr>
        <p:spPr>
          <a:xfrm>
            <a:off x="55161" y="184929"/>
            <a:ext cx="785552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3200" dirty="0" err="1">
                <a:solidFill>
                  <a:schemeClr val="bg1"/>
                </a:solidFill>
                <a:latin typeface="+mj-lt"/>
              </a:rPr>
              <a:t>Kellogg’s</a:t>
            </a:r>
            <a:r>
              <a:rPr lang="fr-FR" sz="3200" dirty="0">
                <a:solidFill>
                  <a:schemeClr val="bg1"/>
                </a:solidFill>
                <a:latin typeface="+mj-lt"/>
              </a:rPr>
              <a:t> France obtient un score de 99/100 à l’index d’égalité professionnelle Femmes -Hommes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156C9F44-4AF3-46D0-B70E-AF9AE869238A}"/>
              </a:ext>
            </a:extLst>
          </p:cNvPr>
          <p:cNvSpPr txBox="1"/>
          <p:nvPr/>
        </p:nvSpPr>
        <p:spPr>
          <a:xfrm>
            <a:off x="60605" y="1618515"/>
            <a:ext cx="6847133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itié en 2019, </a:t>
            </a:r>
            <a:r>
              <a:rPr lang="fr-FR" sz="20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ellogg’s</a:t>
            </a:r>
            <a:r>
              <a:rPr lang="fr-FR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France avait obtenu un score de 95/100.</a:t>
            </a:r>
            <a:endParaRPr lang="fr-FR" sz="20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fr-FR" sz="1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fr-FR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ous avons poursuivis nos efforts, et c’est avec fierté que vous annonçons que </a:t>
            </a:r>
            <a:r>
              <a:rPr lang="fr-FR" sz="20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ur 2020 </a:t>
            </a:r>
            <a:r>
              <a:rPr lang="fr-FR" sz="2000" b="1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ellogg’s</a:t>
            </a:r>
            <a:r>
              <a:rPr lang="fr-FR" sz="20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France a obtenu un score de 99 sur 100.</a:t>
            </a:r>
          </a:p>
          <a:p>
            <a:r>
              <a:rPr lang="fr-FR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</p:txBody>
      </p:sp>
      <p:graphicFrame>
        <p:nvGraphicFramePr>
          <p:cNvPr id="17" name="Graphique 16">
            <a:extLst>
              <a:ext uri="{FF2B5EF4-FFF2-40B4-BE49-F238E27FC236}">
                <a16:creationId xmlns:a16="http://schemas.microsoft.com/office/drawing/2014/main" id="{4FB3FED2-9C16-4383-964B-9A75C289F18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27466320"/>
              </p:ext>
            </p:extLst>
          </p:nvPr>
        </p:nvGraphicFramePr>
        <p:xfrm>
          <a:off x="8734065" y="4166942"/>
          <a:ext cx="3264563" cy="26479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11" name="Groupe 10">
            <a:extLst>
              <a:ext uri="{FF2B5EF4-FFF2-40B4-BE49-F238E27FC236}">
                <a16:creationId xmlns:a16="http://schemas.microsoft.com/office/drawing/2014/main" id="{1AF3DEE7-B5B9-4DCA-B0E0-F5575D29DB65}"/>
              </a:ext>
            </a:extLst>
          </p:cNvPr>
          <p:cNvGrpSpPr/>
          <p:nvPr/>
        </p:nvGrpSpPr>
        <p:grpSpPr>
          <a:xfrm>
            <a:off x="55161" y="4419044"/>
            <a:ext cx="3244195" cy="2339847"/>
            <a:chOff x="573137" y="1186897"/>
            <a:chExt cx="4302726" cy="2574828"/>
          </a:xfrm>
        </p:grpSpPr>
        <p:graphicFrame>
          <p:nvGraphicFramePr>
            <p:cNvPr id="14" name="Graphique 13">
              <a:extLst>
                <a:ext uri="{FF2B5EF4-FFF2-40B4-BE49-F238E27FC236}">
                  <a16:creationId xmlns:a16="http://schemas.microsoft.com/office/drawing/2014/main" id="{31C50D19-B220-40AB-9D20-E9766C0F1E81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227991369"/>
                </p:ext>
              </p:extLst>
            </p:nvPr>
          </p:nvGraphicFramePr>
          <p:xfrm>
            <a:off x="573137" y="1186897"/>
            <a:ext cx="4302726" cy="257482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sp>
          <p:nvSpPr>
            <p:cNvPr id="18" name="ZoneTexte 17">
              <a:extLst>
                <a:ext uri="{FF2B5EF4-FFF2-40B4-BE49-F238E27FC236}">
                  <a16:creationId xmlns:a16="http://schemas.microsoft.com/office/drawing/2014/main" id="{F7737C52-B978-48A6-AB66-6CDA83D6C54D}"/>
                </a:ext>
              </a:extLst>
            </p:cNvPr>
            <p:cNvSpPr txBox="1"/>
            <p:nvPr/>
          </p:nvSpPr>
          <p:spPr>
            <a:xfrm>
              <a:off x="2090468" y="2416699"/>
              <a:ext cx="1597632" cy="4512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600" dirty="0"/>
                <a:t>39 / 40</a:t>
              </a:r>
            </a:p>
          </p:txBody>
        </p:sp>
      </p:grpSp>
      <p:grpSp>
        <p:nvGrpSpPr>
          <p:cNvPr id="9" name="Groupe 8">
            <a:extLst>
              <a:ext uri="{FF2B5EF4-FFF2-40B4-BE49-F238E27FC236}">
                <a16:creationId xmlns:a16="http://schemas.microsoft.com/office/drawing/2014/main" id="{EFE37F1C-F39D-48C9-B528-40D858936B92}"/>
              </a:ext>
            </a:extLst>
          </p:cNvPr>
          <p:cNvGrpSpPr/>
          <p:nvPr/>
        </p:nvGrpSpPr>
        <p:grpSpPr>
          <a:xfrm>
            <a:off x="5933237" y="4302581"/>
            <a:ext cx="3264564" cy="2456310"/>
            <a:chOff x="2697695" y="3985284"/>
            <a:chExt cx="5078660" cy="2811176"/>
          </a:xfrm>
        </p:grpSpPr>
        <p:graphicFrame>
          <p:nvGraphicFramePr>
            <p:cNvPr id="15" name="Graphique 14">
              <a:extLst>
                <a:ext uri="{FF2B5EF4-FFF2-40B4-BE49-F238E27FC236}">
                  <a16:creationId xmlns:a16="http://schemas.microsoft.com/office/drawing/2014/main" id="{23321E1C-C1C9-444C-9976-EB43C1CA3868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4207210638"/>
                </p:ext>
              </p:extLst>
            </p:nvPr>
          </p:nvGraphicFramePr>
          <p:xfrm>
            <a:off x="2697695" y="3985284"/>
            <a:ext cx="5078660" cy="281117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sp>
          <p:nvSpPr>
            <p:cNvPr id="19" name="ZoneTexte 18">
              <a:extLst>
                <a:ext uri="{FF2B5EF4-FFF2-40B4-BE49-F238E27FC236}">
                  <a16:creationId xmlns:a16="http://schemas.microsoft.com/office/drawing/2014/main" id="{EAFAAA14-164A-46B7-82AF-43E5D9A08D8A}"/>
                </a:ext>
              </a:extLst>
            </p:cNvPr>
            <p:cNvSpPr txBox="1"/>
            <p:nvPr/>
          </p:nvSpPr>
          <p:spPr>
            <a:xfrm>
              <a:off x="4655512" y="5409492"/>
              <a:ext cx="1390772" cy="4926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600" dirty="0"/>
                <a:t>15 / 15</a:t>
              </a:r>
            </a:p>
          </p:txBody>
        </p:sp>
      </p:grpSp>
      <p:grpSp>
        <p:nvGrpSpPr>
          <p:cNvPr id="22" name="Groupe 21">
            <a:extLst>
              <a:ext uri="{FF2B5EF4-FFF2-40B4-BE49-F238E27FC236}">
                <a16:creationId xmlns:a16="http://schemas.microsoft.com/office/drawing/2014/main" id="{3E2F4C98-7302-4A0A-AF41-AFBEDE61910A}"/>
              </a:ext>
            </a:extLst>
          </p:cNvPr>
          <p:cNvGrpSpPr/>
          <p:nvPr/>
        </p:nvGrpSpPr>
        <p:grpSpPr>
          <a:xfrm>
            <a:off x="2994199" y="4292219"/>
            <a:ext cx="3264564" cy="2466672"/>
            <a:chOff x="-836161" y="4422699"/>
            <a:chExt cx="4592319" cy="2802128"/>
          </a:xfrm>
        </p:grpSpPr>
        <p:graphicFrame>
          <p:nvGraphicFramePr>
            <p:cNvPr id="16" name="Graphique 15">
              <a:extLst>
                <a:ext uri="{FF2B5EF4-FFF2-40B4-BE49-F238E27FC236}">
                  <a16:creationId xmlns:a16="http://schemas.microsoft.com/office/drawing/2014/main" id="{7B9A80C9-3827-4285-9FDA-1BE92704877F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139894619"/>
                </p:ext>
              </p:extLst>
            </p:nvPr>
          </p:nvGraphicFramePr>
          <p:xfrm>
            <a:off x="-836161" y="4422699"/>
            <a:ext cx="4592319" cy="280212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sp>
          <p:nvSpPr>
            <p:cNvPr id="20" name="ZoneTexte 19">
              <a:extLst>
                <a:ext uri="{FF2B5EF4-FFF2-40B4-BE49-F238E27FC236}">
                  <a16:creationId xmlns:a16="http://schemas.microsoft.com/office/drawing/2014/main" id="{12EF3D66-4066-4765-A24A-31EFA98BCF2A}"/>
                </a:ext>
              </a:extLst>
            </p:cNvPr>
            <p:cNvSpPr txBox="1"/>
            <p:nvPr/>
          </p:nvSpPr>
          <p:spPr>
            <a:xfrm>
              <a:off x="829110" y="5807853"/>
              <a:ext cx="1597632" cy="4911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1600" dirty="0"/>
                <a:t>35 / 35</a:t>
              </a:r>
            </a:p>
          </p:txBody>
        </p: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7FC9832F-13F7-496D-B523-19D2B09434FA}"/>
              </a:ext>
            </a:extLst>
          </p:cNvPr>
          <p:cNvSpPr/>
          <p:nvPr/>
        </p:nvSpPr>
        <p:spPr>
          <a:xfrm>
            <a:off x="290817" y="6423689"/>
            <a:ext cx="498763" cy="24938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B48852FD-D21B-404C-B96B-CA4D8570CB9E}"/>
              </a:ext>
            </a:extLst>
          </p:cNvPr>
          <p:cNvSpPr txBox="1"/>
          <p:nvPr/>
        </p:nvSpPr>
        <p:spPr>
          <a:xfrm>
            <a:off x="59119" y="3151279"/>
            <a:ext cx="7619870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20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’est le résultat de </a:t>
            </a:r>
            <a:r>
              <a:rPr lang="fr-FR" sz="2000" b="0" i="0">
                <a:solidFill>
                  <a:srgbClr val="666666"/>
                </a:solidFill>
                <a:effectLst/>
                <a:latin typeface="OpenSans"/>
              </a:rPr>
              <a:t>notre engagement en faveur de l’équité, de l’inclusion et de la diversité, et nous sommes déterminés à poursuivre nos actions afin d’obtenir le score maximal en 2021</a:t>
            </a:r>
            <a:endParaRPr lang="fr-FR" sz="20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DF96A78-02A4-4CAA-8C07-111A8895D102}"/>
              </a:ext>
            </a:extLst>
          </p:cNvPr>
          <p:cNvSpPr/>
          <p:nvPr/>
        </p:nvSpPr>
        <p:spPr>
          <a:xfrm>
            <a:off x="333525" y="4302581"/>
            <a:ext cx="2841593" cy="4218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dicateur 1 : écart de rémunération femmes-homme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C672138-0275-4646-A80C-EF59FF49D5C2}"/>
              </a:ext>
            </a:extLst>
          </p:cNvPr>
          <p:cNvSpPr/>
          <p:nvPr/>
        </p:nvSpPr>
        <p:spPr>
          <a:xfrm>
            <a:off x="6019830" y="4304516"/>
            <a:ext cx="3237771" cy="37520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>
                <a:solidFill>
                  <a:schemeClr val="tx1"/>
                </a:solidFill>
              </a:rPr>
              <a:t>Indicateur 3 : Nombre de salariées augmentées après leur congé maternité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6B58139-C19E-4C97-B72B-1B75D66B2569}"/>
              </a:ext>
            </a:extLst>
          </p:cNvPr>
          <p:cNvSpPr/>
          <p:nvPr/>
        </p:nvSpPr>
        <p:spPr>
          <a:xfrm>
            <a:off x="3258591" y="4292219"/>
            <a:ext cx="2837409" cy="4218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tx1"/>
                </a:solidFill>
              </a:rPr>
              <a:t>Indicateur 2 : écart de répartition des augmentations individuelle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181FF53-FBD8-4D6A-9DDA-E2173DE744BF}"/>
              </a:ext>
            </a:extLst>
          </p:cNvPr>
          <p:cNvSpPr/>
          <p:nvPr/>
        </p:nvSpPr>
        <p:spPr>
          <a:xfrm>
            <a:off x="9197801" y="4274983"/>
            <a:ext cx="2837409" cy="4218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>
                <a:solidFill>
                  <a:schemeClr val="tx1"/>
                </a:solidFill>
              </a:rPr>
              <a:t>Indicateur 4 : Nombre de personnes du sexe sous représenté dans les 10 plus hautes rémunérations</a:t>
            </a:r>
          </a:p>
        </p:txBody>
      </p:sp>
    </p:spTree>
    <p:extLst>
      <p:ext uri="{BB962C8B-B14F-4D97-AF65-F5344CB8AC3E}">
        <p14:creationId xmlns:p14="http://schemas.microsoft.com/office/powerpoint/2010/main" val="31601257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89CdhpQtmKhb__Fk0IVw"/>
</p:tagLst>
</file>

<file path=ppt/theme/theme1.xml><?xml version="1.0" encoding="utf-8"?>
<a:theme xmlns:a="http://schemas.openxmlformats.org/drawingml/2006/main" name="Kelloggs">
  <a:themeElements>
    <a:clrScheme name="Brand">
      <a:dk1>
        <a:srgbClr val="50555C"/>
      </a:dk1>
      <a:lt1>
        <a:sysClr val="window" lastClr="FFFFFF"/>
      </a:lt1>
      <a:dk2>
        <a:srgbClr val="50555C"/>
      </a:dk2>
      <a:lt2>
        <a:srgbClr val="D7D9D5"/>
      </a:lt2>
      <a:accent1>
        <a:srgbClr val="BF2032"/>
      </a:accent1>
      <a:accent2>
        <a:srgbClr val="87C5E7"/>
      </a:accent2>
      <a:accent3>
        <a:srgbClr val="7B94A9"/>
      </a:accent3>
      <a:accent4>
        <a:srgbClr val="F2C55C"/>
      </a:accent4>
      <a:accent5>
        <a:srgbClr val="F09933"/>
      </a:accent5>
      <a:accent6>
        <a:srgbClr val="78C36E"/>
      </a:accent6>
      <a:hlink>
        <a:srgbClr val="BF2032"/>
      </a:hlink>
      <a:folHlink>
        <a:srgbClr val="7B94A9"/>
      </a:folHlink>
    </a:clrScheme>
    <a:fontScheme name="Brand">
      <a:majorFont>
        <a:latin typeface="Barlow Condensed ExtraBold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elloggs" id="{6F5AD34A-B899-4AC6-B2DC-053E8CA4CD2B}" vid="{703E8350-877F-4423-AE51-FBF5F5908FAE}"/>
    </a:ext>
  </a:extLst>
</a:theme>
</file>

<file path=ppt/theme/theme2.xml><?xml version="1.0" encoding="utf-8"?>
<a:theme xmlns:a="http://schemas.openxmlformats.org/drawingml/2006/main" name="Thème Office">
  <a:themeElements>
    <a:clrScheme name="Benutzerdefiniert 11">
      <a:dk1>
        <a:srgbClr val="C3012C"/>
      </a:dk1>
      <a:lt1>
        <a:srgbClr val="FFFFFF"/>
      </a:lt1>
      <a:dk2>
        <a:srgbClr val="615651"/>
      </a:dk2>
      <a:lt2>
        <a:srgbClr val="EA691D"/>
      </a:lt2>
      <a:accent1>
        <a:srgbClr val="FDBA08"/>
      </a:accent1>
      <a:accent2>
        <a:srgbClr val="660E2B"/>
      </a:accent2>
      <a:accent3>
        <a:srgbClr val="920066"/>
      </a:accent3>
      <a:accent4>
        <a:srgbClr val="83B919"/>
      </a:accent4>
      <a:accent5>
        <a:srgbClr val="51A9C1"/>
      </a:accent5>
      <a:accent6>
        <a:srgbClr val="80379B"/>
      </a:accent6>
      <a:hlink>
        <a:srgbClr val="0000FF"/>
      </a:hlink>
      <a:folHlink>
        <a:srgbClr val="1F497D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400" dirty="0" smtClean="0">
            <a:solidFill>
              <a:schemeClr val="bg2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Kelloggs</Template>
  <TotalTime>653</TotalTime>
  <Words>188</Words>
  <Application>Microsoft Office PowerPoint</Application>
  <PresentationFormat>Widescreen</PresentationFormat>
  <Paragraphs>1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Barlow Condensed ExtraBold</vt:lpstr>
      <vt:lpstr>Calibri</vt:lpstr>
      <vt:lpstr>Montserrat</vt:lpstr>
      <vt:lpstr>OpenSans</vt:lpstr>
      <vt:lpstr>Kelloggs</vt:lpstr>
      <vt:lpstr>Thème Offic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Mori, Solene</dc:creator>
  <cp:lastModifiedBy>Gautam Sarma</cp:lastModifiedBy>
  <cp:revision>13</cp:revision>
  <dcterms:created xsi:type="dcterms:W3CDTF">2021-01-12T18:33:00Z</dcterms:created>
  <dcterms:modified xsi:type="dcterms:W3CDTF">2021-04-05T11:50:09Z</dcterms:modified>
</cp:coreProperties>
</file>